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2" r:id="rId2"/>
    <p:sldMasterId id="2147483669" r:id="rId3"/>
  </p:sldMasterIdLst>
  <p:notesMasterIdLst>
    <p:notesMasterId r:id="rId20"/>
  </p:notesMasterIdLst>
  <p:sldIdLst>
    <p:sldId id="264" r:id="rId4"/>
    <p:sldId id="3741" r:id="rId5"/>
    <p:sldId id="3800" r:id="rId6"/>
    <p:sldId id="3816" r:id="rId7"/>
    <p:sldId id="3811" r:id="rId8"/>
    <p:sldId id="3805" r:id="rId9"/>
    <p:sldId id="3817" r:id="rId10"/>
    <p:sldId id="3818" r:id="rId11"/>
    <p:sldId id="3819" r:id="rId12"/>
    <p:sldId id="3823" r:id="rId13"/>
    <p:sldId id="3814" r:id="rId14"/>
    <p:sldId id="3822" r:id="rId15"/>
    <p:sldId id="3824" r:id="rId16"/>
    <p:sldId id="3821" r:id="rId17"/>
    <p:sldId id="3815" r:id="rId18"/>
    <p:sldId id="3787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 Mahendran" initials="SM" lastIdx="1" clrIdx="0">
    <p:extLst>
      <p:ext uri="{19B8F6BF-5375-455C-9EA6-DF929625EA0E}">
        <p15:presenceInfo xmlns:p15="http://schemas.microsoft.com/office/powerpoint/2012/main" userId="S::mahendranma@hcl.com::b682d74b-922c-4098-bea9-1ebe9b882dc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FF"/>
    <a:srgbClr val="FF62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340" autoAdjust="0"/>
    <p:restoredTop sz="94660"/>
  </p:normalViewPr>
  <p:slideViewPr>
    <p:cSldViewPr snapToGrid="0">
      <p:cViewPr varScale="1">
        <p:scale>
          <a:sx n="72" d="100"/>
          <a:sy n="72" d="100"/>
        </p:scale>
        <p:origin x="726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7-16T12:12:12.733" idx="1">
    <p:pos x="317" y="4099"/>
    <p:text>ddd</p:text>
    <p:extLst>
      <p:ext uri="{C676402C-5697-4E1C-873F-D02D1690AC5C}">
        <p15:threadingInfo xmlns:p15="http://schemas.microsoft.com/office/powerpoint/2012/main" timeZoneBias="-33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7-16T12:12:12.733" idx="1">
    <p:pos x="317" y="4099"/>
    <p:text>ddd</p:text>
    <p:extLst>
      <p:ext uri="{C676402C-5697-4E1C-873F-D02D1690AC5C}">
        <p15:threadingInfo xmlns:p15="http://schemas.microsoft.com/office/powerpoint/2012/main" timeZoneBias="-33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7-16T12:12:12.733" idx="1">
    <p:pos x="317" y="4099"/>
    <p:text>ddd</p:text>
    <p:extLst>
      <p:ext uri="{C676402C-5697-4E1C-873F-D02D1690AC5C}">
        <p15:threadingInfo xmlns:p15="http://schemas.microsoft.com/office/powerpoint/2012/main" timeZoneBias="-33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76E77C-BC80-41CA-BEAC-90D972D8C4CD}" type="datetimeFigureOut">
              <a:rPr lang="en-US" smtClean="0"/>
              <a:t>7/17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9E1884-D02C-4342-89E8-4EAD64D9C24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0767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32884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8207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00643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86308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06637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3054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6D1055-995D-48C6-8433-39692A0C2D2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53900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59633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556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9330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57355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34861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21380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26312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E1884-D02C-4342-89E8-4EAD64D9C24C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13350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6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152400"/>
            <a:ext cx="11150600" cy="749300"/>
          </a:xfrm>
        </p:spPr>
        <p:txBody>
          <a:bodyPr>
            <a:normAutofit/>
          </a:bodyPr>
          <a:lstStyle>
            <a:lvl1pPr>
              <a:defRPr sz="2800" b="1">
                <a:solidFill>
                  <a:srgbClr val="FF6200"/>
                </a:solidFill>
                <a:latin typeface="ING Me" panose="02000506040000020004" pitchFamily="2" charset="0"/>
                <a:cs typeface="ING Me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62270"/>
            <a:ext cx="10515600" cy="4914693"/>
          </a:xfrm>
        </p:spPr>
        <p:txBody>
          <a:bodyPr/>
          <a:lstStyle>
            <a:lvl1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NG Me" panose="02000506040000020004" pitchFamily="2" charset="0"/>
                <a:ea typeface="+mn-ea"/>
                <a:cs typeface="ING Me" panose="02000506040000020004" pitchFamily="2" charset="0"/>
              </a:defRPr>
            </a:lvl1pPr>
            <a:lvl2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NG Me" panose="02000506040000020004" pitchFamily="2" charset="0"/>
                <a:ea typeface="+mn-ea"/>
                <a:cs typeface="ING Me" panose="02000506040000020004" pitchFamily="2" charset="0"/>
              </a:defRPr>
            </a:lvl2pPr>
            <a:lvl3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NG Me" panose="02000506040000020004" pitchFamily="2" charset="0"/>
                <a:ea typeface="+mn-ea"/>
                <a:cs typeface="ING Me" panose="02000506040000020004" pitchFamily="2" charset="0"/>
              </a:defRPr>
            </a:lvl3pPr>
            <a:lvl4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NG Me" panose="02000506040000020004" pitchFamily="2" charset="0"/>
                <a:ea typeface="+mn-ea"/>
                <a:cs typeface="ING Me" panose="02000506040000020004" pitchFamily="2" charset="0"/>
              </a:defRPr>
            </a:lvl4pPr>
            <a:lvl5pPr algn="l" rtl="0" eaLnBrk="0" fontAlgn="base" hangingPunct="0">
              <a:spcAft>
                <a:spcPct val="0"/>
              </a:spcAft>
              <a:buClr>
                <a:schemeClr val="tx1"/>
              </a:buClr>
              <a:def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ING Me" panose="02000506040000020004" pitchFamily="2" charset="0"/>
                <a:ea typeface="+mn-ea"/>
                <a:cs typeface="ING Me" panose="02000506040000020004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76C3168-98C1-4C0F-B184-D9FA63D4C801}"/>
              </a:ext>
            </a:extLst>
          </p:cNvPr>
          <p:cNvCxnSpPr/>
          <p:nvPr userDrawn="1"/>
        </p:nvCxnSpPr>
        <p:spPr>
          <a:xfrm>
            <a:off x="11940614" y="0"/>
            <a:ext cx="0" cy="4399363"/>
          </a:xfrm>
          <a:prstGeom prst="line">
            <a:avLst/>
          </a:prstGeom>
          <a:ln>
            <a:solidFill>
              <a:srgbClr val="FF6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F532A40-5F48-43A4-AACA-B20110CACE8B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01981" y="4399363"/>
            <a:ext cx="138633" cy="277246"/>
          </a:xfrm>
          <a:prstGeom prst="line">
            <a:avLst/>
          </a:prstGeom>
          <a:ln>
            <a:solidFill>
              <a:srgbClr val="FF6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FEE6A3-E52C-47A1-B88E-71DA884495E9}"/>
              </a:ext>
            </a:extLst>
          </p:cNvPr>
          <p:cNvCxnSpPr/>
          <p:nvPr userDrawn="1"/>
        </p:nvCxnSpPr>
        <p:spPr>
          <a:xfrm>
            <a:off x="11801981" y="4676609"/>
            <a:ext cx="0" cy="739324"/>
          </a:xfrm>
          <a:prstGeom prst="line">
            <a:avLst/>
          </a:prstGeom>
          <a:ln>
            <a:solidFill>
              <a:srgbClr val="FF6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1874B5-83FC-43A2-A787-4F47ADABAC86}"/>
              </a:ext>
            </a:extLst>
          </p:cNvPr>
          <p:cNvCxnSpPr/>
          <p:nvPr userDrawn="1"/>
        </p:nvCxnSpPr>
        <p:spPr>
          <a:xfrm>
            <a:off x="11940614" y="4676609"/>
            <a:ext cx="0" cy="554493"/>
          </a:xfrm>
          <a:prstGeom prst="line">
            <a:avLst/>
          </a:prstGeom>
          <a:ln>
            <a:solidFill>
              <a:srgbClr val="FF6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2A0CA53-D3F4-429F-9E9A-509BF1D0FFEC}"/>
              </a:ext>
            </a:extLst>
          </p:cNvPr>
          <p:cNvCxnSpPr/>
          <p:nvPr userDrawn="1"/>
        </p:nvCxnSpPr>
        <p:spPr>
          <a:xfrm>
            <a:off x="11940614" y="5231102"/>
            <a:ext cx="138633" cy="184831"/>
          </a:xfrm>
          <a:prstGeom prst="line">
            <a:avLst/>
          </a:prstGeom>
          <a:ln>
            <a:solidFill>
              <a:srgbClr val="FF6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C541309-DD97-4E3D-BD8C-5772A32E0AA7}"/>
              </a:ext>
            </a:extLst>
          </p:cNvPr>
          <p:cNvCxnSpPr>
            <a:cxnSpLocks/>
          </p:cNvCxnSpPr>
          <p:nvPr userDrawn="1"/>
        </p:nvCxnSpPr>
        <p:spPr>
          <a:xfrm>
            <a:off x="12079247" y="5415933"/>
            <a:ext cx="0" cy="462077"/>
          </a:xfrm>
          <a:prstGeom prst="line">
            <a:avLst/>
          </a:prstGeom>
          <a:ln>
            <a:solidFill>
              <a:srgbClr val="FF6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0BBACBFF-B55A-4EDA-980A-D920442427D0}"/>
              </a:ext>
            </a:extLst>
          </p:cNvPr>
          <p:cNvSpPr/>
          <p:nvPr userDrawn="1"/>
        </p:nvSpPr>
        <p:spPr>
          <a:xfrm>
            <a:off x="11755770" y="5369726"/>
            <a:ext cx="92421" cy="92414"/>
          </a:xfrm>
          <a:prstGeom prst="ellipse">
            <a:avLst/>
          </a:prstGeom>
          <a:solidFill>
            <a:schemeClr val="bg1"/>
          </a:solidFill>
          <a:ln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5614488-074F-4B42-AB86-089AC82EDB50}"/>
              </a:ext>
            </a:extLst>
          </p:cNvPr>
          <p:cNvSpPr/>
          <p:nvPr userDrawn="1"/>
        </p:nvSpPr>
        <p:spPr>
          <a:xfrm>
            <a:off x="12033036" y="5831804"/>
            <a:ext cx="92421" cy="92414"/>
          </a:xfrm>
          <a:prstGeom prst="ellipse">
            <a:avLst/>
          </a:prstGeom>
          <a:solidFill>
            <a:schemeClr val="bg1"/>
          </a:solidFill>
          <a:ln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AE24E28-2B2C-4C25-B550-D4BBB65591CE}"/>
              </a:ext>
            </a:extLst>
          </p:cNvPr>
          <p:cNvSpPr/>
          <p:nvPr userDrawn="1"/>
        </p:nvSpPr>
        <p:spPr>
          <a:xfrm>
            <a:off x="11894404" y="4630403"/>
            <a:ext cx="92421" cy="92414"/>
          </a:xfrm>
          <a:prstGeom prst="ellipse">
            <a:avLst/>
          </a:prstGeom>
          <a:solidFill>
            <a:schemeClr val="bg1"/>
          </a:solidFill>
          <a:ln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2492DA2-C4C4-4496-B5D2-B753D5F9BB3F}"/>
              </a:ext>
            </a:extLst>
          </p:cNvPr>
          <p:cNvCxnSpPr/>
          <p:nvPr userDrawn="1"/>
        </p:nvCxnSpPr>
        <p:spPr>
          <a:xfrm flipH="1">
            <a:off x="11940614" y="5415933"/>
            <a:ext cx="138633" cy="241740"/>
          </a:xfrm>
          <a:prstGeom prst="line">
            <a:avLst/>
          </a:prstGeom>
          <a:ln>
            <a:solidFill>
              <a:srgbClr val="FF6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D240E82-7F27-473B-B21B-229AFC19D91D}"/>
              </a:ext>
            </a:extLst>
          </p:cNvPr>
          <p:cNvCxnSpPr/>
          <p:nvPr userDrawn="1"/>
        </p:nvCxnSpPr>
        <p:spPr>
          <a:xfrm>
            <a:off x="11940614" y="5657673"/>
            <a:ext cx="0" cy="634551"/>
          </a:xfrm>
          <a:prstGeom prst="line">
            <a:avLst/>
          </a:prstGeom>
          <a:ln>
            <a:solidFill>
              <a:srgbClr val="FF6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76E33F17-7FD6-4F63-98AB-82C76950050A}"/>
              </a:ext>
            </a:extLst>
          </p:cNvPr>
          <p:cNvSpPr/>
          <p:nvPr userDrawn="1"/>
        </p:nvSpPr>
        <p:spPr>
          <a:xfrm>
            <a:off x="11894403" y="6246017"/>
            <a:ext cx="92421" cy="92414"/>
          </a:xfrm>
          <a:prstGeom prst="ellipse">
            <a:avLst/>
          </a:prstGeom>
          <a:solidFill>
            <a:schemeClr val="bg1"/>
          </a:solidFill>
          <a:ln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 dirty="0"/>
          </a:p>
        </p:txBody>
      </p:sp>
    </p:spTree>
    <p:extLst>
      <p:ext uri="{BB962C8B-B14F-4D97-AF65-F5344CB8AC3E}">
        <p14:creationId xmlns:p14="http://schemas.microsoft.com/office/powerpoint/2010/main" val="2203855264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8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12192000" cy="6428096"/>
          </a:xfrm>
          <a:prstGeom prst="rect">
            <a:avLst/>
          </a:prstGeom>
          <a:solidFill>
            <a:srgbClr val="2C3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dirty="0"/>
          </a:p>
        </p:txBody>
      </p:sp>
      <p:sp>
        <p:nvSpPr>
          <p:cNvPr id="4" name="Holder 2"/>
          <p:cNvSpPr>
            <a:spLocks noGrp="1"/>
          </p:cNvSpPr>
          <p:nvPr>
            <p:ph type="title"/>
          </p:nvPr>
        </p:nvSpPr>
        <p:spPr>
          <a:xfrm>
            <a:off x="655650" y="397912"/>
            <a:ext cx="10880699" cy="642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4724400" y="6500732"/>
            <a:ext cx="2743200" cy="365125"/>
          </a:xfrm>
          <a:prstGeom prst="rect">
            <a:avLst/>
          </a:prstGeom>
        </p:spPr>
        <p:txBody>
          <a:bodyPr/>
          <a:lstStyle/>
          <a:p>
            <a:fld id="{04D3B416-56D6-4E1A-828A-9E1D5E721EE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8304999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4280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dirty="0"/>
          </a:p>
        </p:txBody>
      </p:sp>
      <p:sp>
        <p:nvSpPr>
          <p:cNvPr id="4" name="Holder 2"/>
          <p:cNvSpPr>
            <a:spLocks noGrp="1"/>
          </p:cNvSpPr>
          <p:nvPr>
            <p:ph type="title"/>
          </p:nvPr>
        </p:nvSpPr>
        <p:spPr>
          <a:xfrm>
            <a:off x="655650" y="397912"/>
            <a:ext cx="10880699" cy="642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724400" y="6500732"/>
            <a:ext cx="2743200" cy="365125"/>
          </a:xfrm>
          <a:prstGeom prst="rect">
            <a:avLst/>
          </a:prstGeom>
        </p:spPr>
        <p:txBody>
          <a:bodyPr/>
          <a:lstStyle/>
          <a:p>
            <a:fld id="{04D3B416-56D6-4E1A-828A-9E1D5E721EE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41034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724400" y="6500732"/>
            <a:ext cx="2743200" cy="365125"/>
          </a:xfrm>
          <a:prstGeom prst="rect">
            <a:avLst/>
          </a:prstGeom>
        </p:spPr>
        <p:txBody>
          <a:bodyPr/>
          <a:lstStyle/>
          <a:p>
            <a:fld id="{04D3B416-56D6-4E1A-828A-9E1D5E721EE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13499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1pPr>
            <a:lvl2pPr marL="41147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22940" indent="0">
              <a:buNone/>
              <a:defRPr sz="1620">
                <a:solidFill>
                  <a:schemeClr val="tx1">
                    <a:tint val="75000"/>
                  </a:schemeClr>
                </a:solidFill>
              </a:defRPr>
            </a:lvl3pPr>
            <a:lvl4pPr marL="1234409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4pPr>
            <a:lvl5pPr marL="1645879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5pPr>
            <a:lvl6pPr marL="2057349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6pPr>
            <a:lvl7pPr marL="2468819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7pPr>
            <a:lvl8pPr marL="2880288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8pPr>
            <a:lvl9pPr marL="3291758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04D3B416-56D6-4E1A-828A-9E1D5E721EE4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5949742" y="6609615"/>
            <a:ext cx="315263" cy="1896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94590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3"/>
          <p:cNvSpPr/>
          <p:nvPr/>
        </p:nvSpPr>
        <p:spPr>
          <a:xfrm>
            <a:off x="5949742" y="6609615"/>
            <a:ext cx="315263" cy="1896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4724400" y="6500732"/>
            <a:ext cx="2743200" cy="365125"/>
          </a:xfrm>
          <a:prstGeom prst="rect">
            <a:avLst/>
          </a:prstGeom>
        </p:spPr>
        <p:txBody>
          <a:bodyPr/>
          <a:lstStyle/>
          <a:p>
            <a:fld id="{04D3B416-56D6-4E1A-828A-9E1D5E721EE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12109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591007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724400" y="6500732"/>
            <a:ext cx="2743200" cy="365125"/>
          </a:xfrm>
          <a:prstGeom prst="rect">
            <a:avLst/>
          </a:prstGeom>
        </p:spPr>
        <p:txBody>
          <a:bodyPr/>
          <a:lstStyle/>
          <a:p>
            <a:fld id="{04D3B416-56D6-4E1A-828A-9E1D5E721EE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02662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6"/>
          <p:cNvSpPr>
            <a:spLocks noChangeArrowheads="1"/>
          </p:cNvSpPr>
          <p:nvPr/>
        </p:nvSpPr>
        <p:spPr bwMode="auto">
          <a:xfrm>
            <a:off x="0" y="0"/>
            <a:ext cx="12192000" cy="6864096"/>
          </a:xfrm>
          <a:prstGeom prst="rect">
            <a:avLst/>
          </a:prstGeom>
          <a:solidFill>
            <a:srgbClr val="0E67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2340" dirty="0"/>
          </a:p>
        </p:txBody>
      </p:sp>
      <p:grpSp>
        <p:nvGrpSpPr>
          <p:cNvPr id="52" name="Group 13"/>
          <p:cNvGrpSpPr>
            <a:grpSpLocks/>
          </p:cNvGrpSpPr>
          <p:nvPr/>
        </p:nvGrpSpPr>
        <p:grpSpPr bwMode="auto">
          <a:xfrm>
            <a:off x="5022443" y="5879612"/>
            <a:ext cx="2147116" cy="398765"/>
            <a:chOff x="3533775" y="5853113"/>
            <a:chExt cx="2144713" cy="438150"/>
          </a:xfrm>
        </p:grpSpPr>
        <p:sp>
          <p:nvSpPr>
            <p:cNvPr id="53" name="Freeform 74"/>
            <p:cNvSpPr>
              <a:spLocks/>
            </p:cNvSpPr>
            <p:nvPr/>
          </p:nvSpPr>
          <p:spPr bwMode="auto">
            <a:xfrm>
              <a:off x="4043363" y="5999163"/>
              <a:ext cx="187325" cy="149225"/>
            </a:xfrm>
            <a:custGeom>
              <a:avLst/>
              <a:gdLst>
                <a:gd name="T0" fmla="*/ 587910146 w 60"/>
                <a:gd name="T1" fmla="*/ 0 h 47"/>
                <a:gd name="T2" fmla="*/ 450732049 w 60"/>
                <a:gd name="T3" fmla="*/ 470671525 h 47"/>
                <a:gd name="T4" fmla="*/ 382143000 w 60"/>
                <a:gd name="T5" fmla="*/ 470671525 h 47"/>
                <a:gd name="T6" fmla="*/ 313550829 w 60"/>
                <a:gd name="T7" fmla="*/ 230327200 h 47"/>
                <a:gd name="T8" fmla="*/ 293956634 w 60"/>
                <a:gd name="T9" fmla="*/ 140198475 h 47"/>
                <a:gd name="T10" fmla="*/ 293956634 w 60"/>
                <a:gd name="T11" fmla="*/ 140198475 h 47"/>
                <a:gd name="T12" fmla="*/ 274359317 w 60"/>
                <a:gd name="T13" fmla="*/ 230327200 h 47"/>
                <a:gd name="T14" fmla="*/ 205767146 w 60"/>
                <a:gd name="T15" fmla="*/ 470671525 h 47"/>
                <a:gd name="T16" fmla="*/ 137178098 w 60"/>
                <a:gd name="T17" fmla="*/ 470671525 h 47"/>
                <a:gd name="T18" fmla="*/ 0 w 60"/>
                <a:gd name="T19" fmla="*/ 0 h 47"/>
                <a:gd name="T20" fmla="*/ 78389268 w 60"/>
                <a:gd name="T21" fmla="*/ 0 h 47"/>
                <a:gd name="T22" fmla="*/ 156775415 w 60"/>
                <a:gd name="T23" fmla="*/ 280400125 h 47"/>
                <a:gd name="T24" fmla="*/ 166575634 w 60"/>
                <a:gd name="T25" fmla="*/ 360514900 h 47"/>
                <a:gd name="T26" fmla="*/ 166575634 w 60"/>
                <a:gd name="T27" fmla="*/ 360514900 h 47"/>
                <a:gd name="T28" fmla="*/ 186172951 w 60"/>
                <a:gd name="T29" fmla="*/ 280400125 h 47"/>
                <a:gd name="T30" fmla="*/ 264559098 w 60"/>
                <a:gd name="T31" fmla="*/ 50072925 h 47"/>
                <a:gd name="T32" fmla="*/ 323351049 w 60"/>
                <a:gd name="T33" fmla="*/ 50072925 h 47"/>
                <a:gd name="T34" fmla="*/ 391940098 w 60"/>
                <a:gd name="T35" fmla="*/ 280400125 h 47"/>
                <a:gd name="T36" fmla="*/ 411537415 w 60"/>
                <a:gd name="T37" fmla="*/ 360514900 h 47"/>
                <a:gd name="T38" fmla="*/ 411537415 w 60"/>
                <a:gd name="T39" fmla="*/ 360514900 h 47"/>
                <a:gd name="T40" fmla="*/ 431134732 w 60"/>
                <a:gd name="T41" fmla="*/ 280400125 h 47"/>
                <a:gd name="T42" fmla="*/ 509520878 w 60"/>
                <a:gd name="T43" fmla="*/ 0 h 47"/>
                <a:gd name="T44" fmla="*/ 587910146 w 60"/>
                <a:gd name="T45" fmla="*/ 0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47">
                  <a:moveTo>
                    <a:pt x="60" y="0"/>
                  </a:moveTo>
                  <a:cubicBezTo>
                    <a:pt x="46" y="47"/>
                    <a:pt x="46" y="47"/>
                    <a:pt x="46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0" y="17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29" y="17"/>
                    <a:pt x="28" y="23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7" y="32"/>
                    <a:pt x="17" y="36"/>
                    <a:pt x="17" y="36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6"/>
                    <a:pt x="18" y="32"/>
                    <a:pt x="19" y="2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2" y="32"/>
                    <a:pt x="42" y="36"/>
                    <a:pt x="42" y="36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2" y="36"/>
                    <a:pt x="43" y="32"/>
                    <a:pt x="44" y="28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54" name="Freeform 75"/>
            <p:cNvSpPr>
              <a:spLocks noEditPoints="1"/>
            </p:cNvSpPr>
            <p:nvPr/>
          </p:nvSpPr>
          <p:spPr bwMode="auto">
            <a:xfrm>
              <a:off x="4219575" y="5999163"/>
              <a:ext cx="136525" cy="149225"/>
            </a:xfrm>
            <a:custGeom>
              <a:avLst/>
              <a:gdLst>
                <a:gd name="T0" fmla="*/ 321865625 w 43"/>
                <a:gd name="T1" fmla="*/ 360514900 h 47"/>
                <a:gd name="T2" fmla="*/ 120697625 w 43"/>
                <a:gd name="T3" fmla="*/ 360514900 h 47"/>
                <a:gd name="T4" fmla="*/ 80467200 w 43"/>
                <a:gd name="T5" fmla="*/ 470671525 h 47"/>
                <a:gd name="T6" fmla="*/ 0 w 43"/>
                <a:gd name="T7" fmla="*/ 470671525 h 47"/>
                <a:gd name="T8" fmla="*/ 181048025 w 43"/>
                <a:gd name="T9" fmla="*/ 0 h 47"/>
                <a:gd name="T10" fmla="*/ 251456825 w 43"/>
                <a:gd name="T11" fmla="*/ 0 h 47"/>
                <a:gd name="T12" fmla="*/ 432504850 w 43"/>
                <a:gd name="T13" fmla="*/ 470671525 h 47"/>
                <a:gd name="T14" fmla="*/ 352037650 w 43"/>
                <a:gd name="T15" fmla="*/ 470671525 h 47"/>
                <a:gd name="T16" fmla="*/ 321865625 w 43"/>
                <a:gd name="T17" fmla="*/ 360514900 h 47"/>
                <a:gd name="T18" fmla="*/ 291690425 w 43"/>
                <a:gd name="T19" fmla="*/ 290414075 h 47"/>
                <a:gd name="T20" fmla="*/ 241398425 w 43"/>
                <a:gd name="T21" fmla="*/ 140198475 h 47"/>
                <a:gd name="T22" fmla="*/ 221281625 w 43"/>
                <a:gd name="T23" fmla="*/ 80114775 h 47"/>
                <a:gd name="T24" fmla="*/ 221281625 w 43"/>
                <a:gd name="T25" fmla="*/ 80114775 h 47"/>
                <a:gd name="T26" fmla="*/ 201164825 w 43"/>
                <a:gd name="T27" fmla="*/ 140198475 h 47"/>
                <a:gd name="T28" fmla="*/ 140814425 w 43"/>
                <a:gd name="T29" fmla="*/ 290414075 h 47"/>
                <a:gd name="T30" fmla="*/ 291690425 w 43"/>
                <a:gd name="T31" fmla="*/ 290414075 h 4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3" h="47">
                  <a:moveTo>
                    <a:pt x="32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35" y="47"/>
                    <a:pt x="35" y="47"/>
                    <a:pt x="35" y="47"/>
                  </a:cubicBezTo>
                  <a:lnTo>
                    <a:pt x="32" y="36"/>
                  </a:lnTo>
                  <a:close/>
                  <a:moveTo>
                    <a:pt x="29" y="29"/>
                  </a:moveTo>
                  <a:cubicBezTo>
                    <a:pt x="24" y="14"/>
                    <a:pt x="24" y="14"/>
                    <a:pt x="24" y="14"/>
                  </a:cubicBezTo>
                  <a:cubicBezTo>
                    <a:pt x="23" y="11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1" y="11"/>
                    <a:pt x="20" y="14"/>
                  </a:cubicBezTo>
                  <a:cubicBezTo>
                    <a:pt x="14" y="29"/>
                    <a:pt x="14" y="29"/>
                    <a:pt x="14" y="29"/>
                  </a:cubicBezTo>
                  <a:lnTo>
                    <a:pt x="29" y="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55" name="Freeform 76"/>
            <p:cNvSpPr>
              <a:spLocks/>
            </p:cNvSpPr>
            <p:nvPr/>
          </p:nvSpPr>
          <p:spPr bwMode="auto">
            <a:xfrm>
              <a:off x="4346575" y="5999163"/>
              <a:ext cx="109538" cy="149225"/>
            </a:xfrm>
            <a:custGeom>
              <a:avLst/>
              <a:gdLst>
                <a:gd name="T0" fmla="*/ 146289335 w 82"/>
                <a:gd name="T1" fmla="*/ 0 h 111"/>
                <a:gd name="T2" fmla="*/ 146289335 w 82"/>
                <a:gd name="T3" fmla="*/ 25135674 h 111"/>
                <a:gd name="T4" fmla="*/ 87416667 w 82"/>
                <a:gd name="T5" fmla="*/ 25135674 h 111"/>
                <a:gd name="T6" fmla="*/ 87416667 w 82"/>
                <a:gd name="T7" fmla="*/ 199293348 h 111"/>
                <a:gd name="T8" fmla="*/ 58872668 w 82"/>
                <a:gd name="T9" fmla="*/ 199293348 h 111"/>
                <a:gd name="T10" fmla="*/ 58872668 w 82"/>
                <a:gd name="T11" fmla="*/ 25135674 h 111"/>
                <a:gd name="T12" fmla="*/ 0 w 82"/>
                <a:gd name="T13" fmla="*/ 25135674 h 111"/>
                <a:gd name="T14" fmla="*/ 0 w 82"/>
                <a:gd name="T15" fmla="*/ 0 h 111"/>
                <a:gd name="T16" fmla="*/ 146289335 w 82"/>
                <a:gd name="T17" fmla="*/ 0 h 1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4"/>
                  </a:lnTo>
                  <a:lnTo>
                    <a:pt x="49" y="14"/>
                  </a:lnTo>
                  <a:lnTo>
                    <a:pt x="49" y="111"/>
                  </a:lnTo>
                  <a:lnTo>
                    <a:pt x="33" y="111"/>
                  </a:lnTo>
                  <a:lnTo>
                    <a:pt x="33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56" name="Freeform 77"/>
            <p:cNvSpPr>
              <a:spLocks/>
            </p:cNvSpPr>
            <p:nvPr/>
          </p:nvSpPr>
          <p:spPr bwMode="auto">
            <a:xfrm>
              <a:off x="4462463" y="5995988"/>
              <a:ext cx="131762" cy="153987"/>
            </a:xfrm>
            <a:custGeom>
              <a:avLst/>
              <a:gdLst>
                <a:gd name="T0" fmla="*/ 335776634 w 42"/>
                <a:gd name="T1" fmla="*/ 139100542 h 49"/>
                <a:gd name="T2" fmla="*/ 217266126 w 42"/>
                <a:gd name="T3" fmla="*/ 69548700 h 49"/>
                <a:gd name="T4" fmla="*/ 79007005 w 42"/>
                <a:gd name="T5" fmla="*/ 238456726 h 49"/>
                <a:gd name="T6" fmla="*/ 217266126 w 42"/>
                <a:gd name="T7" fmla="*/ 407364752 h 49"/>
                <a:gd name="T8" fmla="*/ 345652509 w 42"/>
                <a:gd name="T9" fmla="*/ 327879177 h 49"/>
                <a:gd name="T10" fmla="*/ 414783639 w 42"/>
                <a:gd name="T11" fmla="*/ 347749785 h 49"/>
                <a:gd name="T12" fmla="*/ 217266126 w 42"/>
                <a:gd name="T13" fmla="*/ 486850327 h 49"/>
                <a:gd name="T14" fmla="*/ 0 w 42"/>
                <a:gd name="T15" fmla="*/ 238456726 h 49"/>
                <a:gd name="T16" fmla="*/ 217266126 w 42"/>
                <a:gd name="T17" fmla="*/ 0 h 49"/>
                <a:gd name="T18" fmla="*/ 404907763 w 42"/>
                <a:gd name="T19" fmla="*/ 119229934 h 49"/>
                <a:gd name="T20" fmla="*/ 335776634 w 42"/>
                <a:gd name="T21" fmla="*/ 139100542 h 4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2" h="49">
                  <a:moveTo>
                    <a:pt x="34" y="14"/>
                  </a:moveTo>
                  <a:cubicBezTo>
                    <a:pt x="32" y="9"/>
                    <a:pt x="27" y="7"/>
                    <a:pt x="22" y="7"/>
                  </a:cubicBezTo>
                  <a:cubicBezTo>
                    <a:pt x="14" y="7"/>
                    <a:pt x="8" y="13"/>
                    <a:pt x="8" y="24"/>
                  </a:cubicBezTo>
                  <a:cubicBezTo>
                    <a:pt x="8" y="35"/>
                    <a:pt x="14" y="41"/>
                    <a:pt x="22" y="41"/>
                  </a:cubicBezTo>
                  <a:cubicBezTo>
                    <a:pt x="28" y="41"/>
                    <a:pt x="33" y="38"/>
                    <a:pt x="35" y="33"/>
                  </a:cubicBezTo>
                  <a:cubicBezTo>
                    <a:pt x="42" y="35"/>
                    <a:pt x="42" y="35"/>
                    <a:pt x="42" y="35"/>
                  </a:cubicBezTo>
                  <a:cubicBezTo>
                    <a:pt x="39" y="43"/>
                    <a:pt x="31" y="49"/>
                    <a:pt x="22" y="49"/>
                  </a:cubicBezTo>
                  <a:cubicBezTo>
                    <a:pt x="10" y="49"/>
                    <a:pt x="0" y="39"/>
                    <a:pt x="0" y="24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1" y="0"/>
                    <a:pt x="38" y="4"/>
                    <a:pt x="41" y="12"/>
                  </a:cubicBezTo>
                  <a:lnTo>
                    <a:pt x="34" y="1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57" name="Freeform 78"/>
            <p:cNvSpPr>
              <a:spLocks/>
            </p:cNvSpPr>
            <p:nvPr/>
          </p:nvSpPr>
          <p:spPr bwMode="auto">
            <a:xfrm>
              <a:off x="4618038" y="5999163"/>
              <a:ext cx="109537" cy="149225"/>
            </a:xfrm>
            <a:custGeom>
              <a:avLst/>
              <a:gdLst>
                <a:gd name="T0" fmla="*/ 146287999 w 82"/>
                <a:gd name="T1" fmla="*/ 0 h 111"/>
                <a:gd name="T2" fmla="*/ 146287999 w 82"/>
                <a:gd name="T3" fmla="*/ 199293348 h 111"/>
                <a:gd name="T4" fmla="*/ 114176293 w 82"/>
                <a:gd name="T5" fmla="*/ 199293348 h 111"/>
                <a:gd name="T6" fmla="*/ 114176293 w 82"/>
                <a:gd name="T7" fmla="*/ 109521739 h 111"/>
                <a:gd name="T8" fmla="*/ 28543739 w 82"/>
                <a:gd name="T9" fmla="*/ 109521739 h 111"/>
                <a:gd name="T10" fmla="*/ 28543739 w 82"/>
                <a:gd name="T11" fmla="*/ 199293348 h 111"/>
                <a:gd name="T12" fmla="*/ 0 w 82"/>
                <a:gd name="T13" fmla="*/ 199293348 h 111"/>
                <a:gd name="T14" fmla="*/ 0 w 82"/>
                <a:gd name="T15" fmla="*/ 0 h 111"/>
                <a:gd name="T16" fmla="*/ 28543739 w 82"/>
                <a:gd name="T17" fmla="*/ 0 h 111"/>
                <a:gd name="T18" fmla="*/ 28543739 w 82"/>
                <a:gd name="T19" fmla="*/ 80795255 h 111"/>
                <a:gd name="T20" fmla="*/ 114176293 w 82"/>
                <a:gd name="T21" fmla="*/ 80795255 h 111"/>
                <a:gd name="T22" fmla="*/ 114176293 w 82"/>
                <a:gd name="T23" fmla="*/ 0 h 111"/>
                <a:gd name="T24" fmla="*/ 146287999 w 82"/>
                <a:gd name="T25" fmla="*/ 0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11"/>
                  </a:lnTo>
                  <a:lnTo>
                    <a:pt x="64" y="111"/>
                  </a:lnTo>
                  <a:lnTo>
                    <a:pt x="64" y="61"/>
                  </a:lnTo>
                  <a:lnTo>
                    <a:pt x="16" y="61"/>
                  </a:lnTo>
                  <a:lnTo>
                    <a:pt x="16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5"/>
                  </a:lnTo>
                  <a:lnTo>
                    <a:pt x="64" y="45"/>
                  </a:lnTo>
                  <a:lnTo>
                    <a:pt x="64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58" name="Freeform 79"/>
            <p:cNvSpPr>
              <a:spLocks/>
            </p:cNvSpPr>
            <p:nvPr/>
          </p:nvSpPr>
          <p:spPr bwMode="auto">
            <a:xfrm>
              <a:off x="4795838" y="5999163"/>
              <a:ext cx="111125" cy="149225"/>
            </a:xfrm>
            <a:custGeom>
              <a:avLst/>
              <a:gdLst>
                <a:gd name="T0" fmla="*/ 148408107 w 83"/>
                <a:gd name="T1" fmla="*/ 0 h 111"/>
                <a:gd name="T2" fmla="*/ 148408107 w 83"/>
                <a:gd name="T3" fmla="*/ 25135674 h 111"/>
                <a:gd name="T4" fmla="*/ 89402071 w 83"/>
                <a:gd name="T5" fmla="*/ 25135674 h 111"/>
                <a:gd name="T6" fmla="*/ 89402071 w 83"/>
                <a:gd name="T7" fmla="*/ 199293348 h 111"/>
                <a:gd name="T8" fmla="*/ 59006036 w 83"/>
                <a:gd name="T9" fmla="*/ 199293348 h 111"/>
                <a:gd name="T10" fmla="*/ 59006036 w 83"/>
                <a:gd name="T11" fmla="*/ 25135674 h 111"/>
                <a:gd name="T12" fmla="*/ 0 w 83"/>
                <a:gd name="T13" fmla="*/ 25135674 h 111"/>
                <a:gd name="T14" fmla="*/ 0 w 83"/>
                <a:gd name="T15" fmla="*/ 0 h 111"/>
                <a:gd name="T16" fmla="*/ 148408107 w 83"/>
                <a:gd name="T17" fmla="*/ 0 h 1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3" h="111">
                  <a:moveTo>
                    <a:pt x="83" y="0"/>
                  </a:moveTo>
                  <a:lnTo>
                    <a:pt x="83" y="14"/>
                  </a:lnTo>
                  <a:lnTo>
                    <a:pt x="50" y="14"/>
                  </a:lnTo>
                  <a:lnTo>
                    <a:pt x="50" y="111"/>
                  </a:lnTo>
                  <a:lnTo>
                    <a:pt x="33" y="111"/>
                  </a:lnTo>
                  <a:lnTo>
                    <a:pt x="33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8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59" name="Freeform 80"/>
            <p:cNvSpPr>
              <a:spLocks/>
            </p:cNvSpPr>
            <p:nvPr/>
          </p:nvSpPr>
          <p:spPr bwMode="auto">
            <a:xfrm>
              <a:off x="4929188" y="5999163"/>
              <a:ext cx="109537" cy="149225"/>
            </a:xfrm>
            <a:custGeom>
              <a:avLst/>
              <a:gdLst>
                <a:gd name="T0" fmla="*/ 146287999 w 82"/>
                <a:gd name="T1" fmla="*/ 0 h 111"/>
                <a:gd name="T2" fmla="*/ 146287999 w 82"/>
                <a:gd name="T3" fmla="*/ 199293348 h 111"/>
                <a:gd name="T4" fmla="*/ 112391641 w 82"/>
                <a:gd name="T5" fmla="*/ 199293348 h 111"/>
                <a:gd name="T6" fmla="*/ 112391641 w 82"/>
                <a:gd name="T7" fmla="*/ 109521739 h 111"/>
                <a:gd name="T8" fmla="*/ 28543739 w 82"/>
                <a:gd name="T9" fmla="*/ 109521739 h 111"/>
                <a:gd name="T10" fmla="*/ 28543739 w 82"/>
                <a:gd name="T11" fmla="*/ 199293348 h 111"/>
                <a:gd name="T12" fmla="*/ 0 w 82"/>
                <a:gd name="T13" fmla="*/ 199293348 h 111"/>
                <a:gd name="T14" fmla="*/ 0 w 82"/>
                <a:gd name="T15" fmla="*/ 0 h 111"/>
                <a:gd name="T16" fmla="*/ 28543739 w 82"/>
                <a:gd name="T17" fmla="*/ 0 h 111"/>
                <a:gd name="T18" fmla="*/ 28543739 w 82"/>
                <a:gd name="T19" fmla="*/ 80795255 h 111"/>
                <a:gd name="T20" fmla="*/ 112391641 w 82"/>
                <a:gd name="T21" fmla="*/ 80795255 h 111"/>
                <a:gd name="T22" fmla="*/ 112391641 w 82"/>
                <a:gd name="T23" fmla="*/ 0 h 111"/>
                <a:gd name="T24" fmla="*/ 146287999 w 82"/>
                <a:gd name="T25" fmla="*/ 0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111">
                  <a:moveTo>
                    <a:pt x="82" y="0"/>
                  </a:moveTo>
                  <a:lnTo>
                    <a:pt x="82" y="111"/>
                  </a:lnTo>
                  <a:lnTo>
                    <a:pt x="63" y="111"/>
                  </a:lnTo>
                  <a:lnTo>
                    <a:pt x="63" y="61"/>
                  </a:lnTo>
                  <a:lnTo>
                    <a:pt x="16" y="61"/>
                  </a:lnTo>
                  <a:lnTo>
                    <a:pt x="16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5"/>
                  </a:lnTo>
                  <a:lnTo>
                    <a:pt x="63" y="45"/>
                  </a:lnTo>
                  <a:lnTo>
                    <a:pt x="63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60" name="Freeform 81"/>
            <p:cNvSpPr>
              <a:spLocks/>
            </p:cNvSpPr>
            <p:nvPr/>
          </p:nvSpPr>
          <p:spPr bwMode="auto">
            <a:xfrm>
              <a:off x="5073650" y="5999163"/>
              <a:ext cx="95250" cy="149225"/>
            </a:xfrm>
            <a:custGeom>
              <a:avLst/>
              <a:gdLst>
                <a:gd name="T0" fmla="*/ 127207046 w 71"/>
                <a:gd name="T1" fmla="*/ 168770786 h 111"/>
                <a:gd name="T2" fmla="*/ 127207046 w 71"/>
                <a:gd name="T3" fmla="*/ 199293348 h 111"/>
                <a:gd name="T4" fmla="*/ 0 w 71"/>
                <a:gd name="T5" fmla="*/ 199293348 h 111"/>
                <a:gd name="T6" fmla="*/ 0 w 71"/>
                <a:gd name="T7" fmla="*/ 0 h 111"/>
                <a:gd name="T8" fmla="*/ 123623768 w 71"/>
                <a:gd name="T9" fmla="*/ 0 h 111"/>
                <a:gd name="T10" fmla="*/ 123623768 w 71"/>
                <a:gd name="T11" fmla="*/ 25135674 h 111"/>
                <a:gd name="T12" fmla="*/ 30458535 w 71"/>
                <a:gd name="T13" fmla="*/ 25135674 h 111"/>
                <a:gd name="T14" fmla="*/ 30458535 w 71"/>
                <a:gd name="T15" fmla="*/ 80795255 h 111"/>
                <a:gd name="T16" fmla="*/ 102124099 w 71"/>
                <a:gd name="T17" fmla="*/ 80795255 h 111"/>
                <a:gd name="T18" fmla="*/ 102124099 w 71"/>
                <a:gd name="T19" fmla="*/ 105930929 h 111"/>
                <a:gd name="T20" fmla="*/ 30458535 w 71"/>
                <a:gd name="T21" fmla="*/ 105930929 h 111"/>
                <a:gd name="T22" fmla="*/ 30458535 w 71"/>
                <a:gd name="T23" fmla="*/ 168770786 h 111"/>
                <a:gd name="T24" fmla="*/ 127207046 w 71"/>
                <a:gd name="T25" fmla="*/ 168770786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1" h="111">
                  <a:moveTo>
                    <a:pt x="71" y="94"/>
                  </a:moveTo>
                  <a:lnTo>
                    <a:pt x="71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69" y="0"/>
                  </a:lnTo>
                  <a:lnTo>
                    <a:pt x="69" y="14"/>
                  </a:lnTo>
                  <a:lnTo>
                    <a:pt x="17" y="14"/>
                  </a:lnTo>
                  <a:lnTo>
                    <a:pt x="17" y="45"/>
                  </a:lnTo>
                  <a:lnTo>
                    <a:pt x="57" y="45"/>
                  </a:lnTo>
                  <a:lnTo>
                    <a:pt x="57" y="59"/>
                  </a:lnTo>
                  <a:lnTo>
                    <a:pt x="17" y="59"/>
                  </a:lnTo>
                  <a:lnTo>
                    <a:pt x="17" y="94"/>
                  </a:lnTo>
                  <a:lnTo>
                    <a:pt x="71" y="9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61" name="Freeform 82"/>
            <p:cNvSpPr>
              <a:spLocks/>
            </p:cNvSpPr>
            <p:nvPr/>
          </p:nvSpPr>
          <p:spPr bwMode="auto">
            <a:xfrm>
              <a:off x="5245100" y="5999163"/>
              <a:ext cx="95250" cy="149225"/>
            </a:xfrm>
            <a:custGeom>
              <a:avLst/>
              <a:gdLst>
                <a:gd name="T0" fmla="*/ 37625092 w 71"/>
                <a:gd name="T1" fmla="*/ 34113373 h 111"/>
                <a:gd name="T2" fmla="*/ 37625092 w 71"/>
                <a:gd name="T3" fmla="*/ 84386065 h 111"/>
                <a:gd name="T4" fmla="*/ 109290655 w 71"/>
                <a:gd name="T5" fmla="*/ 84386065 h 111"/>
                <a:gd name="T6" fmla="*/ 109290655 w 71"/>
                <a:gd name="T7" fmla="*/ 118498094 h 111"/>
                <a:gd name="T8" fmla="*/ 37625092 w 71"/>
                <a:gd name="T9" fmla="*/ 118498094 h 111"/>
                <a:gd name="T10" fmla="*/ 37625092 w 71"/>
                <a:gd name="T11" fmla="*/ 199293348 h 111"/>
                <a:gd name="T12" fmla="*/ 0 w 71"/>
                <a:gd name="T13" fmla="*/ 199293348 h 111"/>
                <a:gd name="T14" fmla="*/ 0 w 71"/>
                <a:gd name="T15" fmla="*/ 0 h 111"/>
                <a:gd name="T16" fmla="*/ 127207046 w 71"/>
                <a:gd name="T17" fmla="*/ 0 h 111"/>
                <a:gd name="T18" fmla="*/ 127207046 w 71"/>
                <a:gd name="T19" fmla="*/ 34113373 h 111"/>
                <a:gd name="T20" fmla="*/ 37625092 w 71"/>
                <a:gd name="T21" fmla="*/ 34113373 h 1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1" h="111">
                  <a:moveTo>
                    <a:pt x="21" y="19"/>
                  </a:moveTo>
                  <a:lnTo>
                    <a:pt x="21" y="47"/>
                  </a:lnTo>
                  <a:lnTo>
                    <a:pt x="61" y="47"/>
                  </a:lnTo>
                  <a:lnTo>
                    <a:pt x="61" y="66"/>
                  </a:lnTo>
                  <a:lnTo>
                    <a:pt x="21" y="66"/>
                  </a:lnTo>
                  <a:lnTo>
                    <a:pt x="21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71" y="0"/>
                  </a:lnTo>
                  <a:lnTo>
                    <a:pt x="7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62" name="Rectangle 83"/>
            <p:cNvSpPr>
              <a:spLocks noChangeArrowheads="1"/>
            </p:cNvSpPr>
            <p:nvPr/>
          </p:nvSpPr>
          <p:spPr bwMode="auto">
            <a:xfrm>
              <a:off x="5365750" y="5999163"/>
              <a:ext cx="26988" cy="1492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>
                <a:solidFill>
                  <a:schemeClr val="bg1"/>
                </a:solidFill>
              </a:endParaRPr>
            </a:p>
          </p:txBody>
        </p:sp>
        <p:sp>
          <p:nvSpPr>
            <p:cNvPr id="63" name="Freeform 84"/>
            <p:cNvSpPr>
              <a:spLocks/>
            </p:cNvSpPr>
            <p:nvPr/>
          </p:nvSpPr>
          <p:spPr bwMode="auto">
            <a:xfrm>
              <a:off x="5426075" y="5999163"/>
              <a:ext cx="96838" cy="149225"/>
            </a:xfrm>
            <a:custGeom>
              <a:avLst/>
              <a:gdLst>
                <a:gd name="T0" fmla="*/ 129327812 w 73"/>
                <a:gd name="T1" fmla="*/ 159794432 h 111"/>
                <a:gd name="T2" fmla="*/ 129327812 w 73"/>
                <a:gd name="T3" fmla="*/ 199293348 h 111"/>
                <a:gd name="T4" fmla="*/ 0 w 73"/>
                <a:gd name="T5" fmla="*/ 199293348 h 111"/>
                <a:gd name="T6" fmla="*/ 0 w 73"/>
                <a:gd name="T7" fmla="*/ 0 h 111"/>
                <a:gd name="T8" fmla="*/ 37204364 w 73"/>
                <a:gd name="T9" fmla="*/ 0 h 111"/>
                <a:gd name="T10" fmla="*/ 37204364 w 73"/>
                <a:gd name="T11" fmla="*/ 159794432 h 111"/>
                <a:gd name="T12" fmla="*/ 129327812 w 73"/>
                <a:gd name="T13" fmla="*/ 159794432 h 1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3" h="111">
                  <a:moveTo>
                    <a:pt x="73" y="89"/>
                  </a:moveTo>
                  <a:lnTo>
                    <a:pt x="73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21" y="0"/>
                  </a:lnTo>
                  <a:lnTo>
                    <a:pt x="21" y="89"/>
                  </a:lnTo>
                  <a:lnTo>
                    <a:pt x="73" y="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64" name="Freeform 85"/>
            <p:cNvSpPr>
              <a:spLocks/>
            </p:cNvSpPr>
            <p:nvPr/>
          </p:nvSpPr>
          <p:spPr bwMode="auto">
            <a:xfrm>
              <a:off x="5541963" y="5999163"/>
              <a:ext cx="136525" cy="149225"/>
            </a:xfrm>
            <a:custGeom>
              <a:avLst/>
              <a:gdLst>
                <a:gd name="T0" fmla="*/ 432504850 w 43"/>
                <a:gd name="T1" fmla="*/ 0 h 47"/>
                <a:gd name="T2" fmla="*/ 432504850 w 43"/>
                <a:gd name="T3" fmla="*/ 470671525 h 47"/>
                <a:gd name="T4" fmla="*/ 341979250 w 43"/>
                <a:gd name="T5" fmla="*/ 470671525 h 47"/>
                <a:gd name="T6" fmla="*/ 341979250 w 43"/>
                <a:gd name="T7" fmla="*/ 310441975 h 47"/>
                <a:gd name="T8" fmla="*/ 341979250 w 43"/>
                <a:gd name="T9" fmla="*/ 150215600 h 47"/>
                <a:gd name="T10" fmla="*/ 341979250 w 43"/>
                <a:gd name="T11" fmla="*/ 150215600 h 47"/>
                <a:gd name="T12" fmla="*/ 301748825 w 43"/>
                <a:gd name="T13" fmla="*/ 220313250 h 47"/>
                <a:gd name="T14" fmla="*/ 241398425 w 43"/>
                <a:gd name="T15" fmla="*/ 350500950 h 47"/>
                <a:gd name="T16" fmla="*/ 191106425 w 43"/>
                <a:gd name="T17" fmla="*/ 350500950 h 47"/>
                <a:gd name="T18" fmla="*/ 120697625 w 43"/>
                <a:gd name="T19" fmla="*/ 220313250 h 47"/>
                <a:gd name="T20" fmla="*/ 90525600 w 43"/>
                <a:gd name="T21" fmla="*/ 150215600 h 47"/>
                <a:gd name="T22" fmla="*/ 90525600 w 43"/>
                <a:gd name="T23" fmla="*/ 150215600 h 47"/>
                <a:gd name="T24" fmla="*/ 90525600 w 43"/>
                <a:gd name="T25" fmla="*/ 310441975 h 47"/>
                <a:gd name="T26" fmla="*/ 90525600 w 43"/>
                <a:gd name="T27" fmla="*/ 470671525 h 47"/>
                <a:gd name="T28" fmla="*/ 0 w 43"/>
                <a:gd name="T29" fmla="*/ 470671525 h 47"/>
                <a:gd name="T30" fmla="*/ 0 w 43"/>
                <a:gd name="T31" fmla="*/ 0 h 47"/>
                <a:gd name="T32" fmla="*/ 90525600 w 43"/>
                <a:gd name="T33" fmla="*/ 0 h 47"/>
                <a:gd name="T34" fmla="*/ 181048025 w 43"/>
                <a:gd name="T35" fmla="*/ 160229550 h 47"/>
                <a:gd name="T36" fmla="*/ 211223225 w 43"/>
                <a:gd name="T37" fmla="*/ 230327200 h 47"/>
                <a:gd name="T38" fmla="*/ 221281625 w 43"/>
                <a:gd name="T39" fmla="*/ 230327200 h 47"/>
                <a:gd name="T40" fmla="*/ 251456825 w 43"/>
                <a:gd name="T41" fmla="*/ 160229550 h 47"/>
                <a:gd name="T42" fmla="*/ 341979250 w 43"/>
                <a:gd name="T43" fmla="*/ 0 h 47"/>
                <a:gd name="T44" fmla="*/ 432504850 w 43"/>
                <a:gd name="T45" fmla="*/ 0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3" h="47">
                  <a:moveTo>
                    <a:pt x="43" y="0"/>
                  </a:moveTo>
                  <a:cubicBezTo>
                    <a:pt x="43" y="47"/>
                    <a:pt x="43" y="47"/>
                    <a:pt x="43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22"/>
                    <a:pt x="34" y="15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1" y="20"/>
                    <a:pt x="30" y="22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1" y="20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15"/>
                    <a:pt x="9" y="22"/>
                    <a:pt x="9" y="31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21" y="21"/>
                    <a:pt x="21" y="23"/>
                    <a:pt x="21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3"/>
                    <a:pt x="22" y="21"/>
                    <a:pt x="25" y="16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65" name="Oval 86"/>
            <p:cNvSpPr>
              <a:spLocks noChangeArrowheads="1"/>
            </p:cNvSpPr>
            <p:nvPr/>
          </p:nvSpPr>
          <p:spPr bwMode="auto">
            <a:xfrm>
              <a:off x="3533775" y="5853113"/>
              <a:ext cx="439738" cy="438150"/>
            </a:xfrm>
            <a:prstGeom prst="ellipse">
              <a:avLst/>
            </a:prstGeom>
            <a:noFill/>
            <a:ln w="1905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  <p:sp>
          <p:nvSpPr>
            <p:cNvPr id="66" name="Freeform 87"/>
            <p:cNvSpPr>
              <a:spLocks/>
            </p:cNvSpPr>
            <p:nvPr/>
          </p:nvSpPr>
          <p:spPr bwMode="auto">
            <a:xfrm>
              <a:off x="3714750" y="5926138"/>
              <a:ext cx="141288" cy="290512"/>
            </a:xfrm>
            <a:custGeom>
              <a:avLst/>
              <a:gdLst>
                <a:gd name="T0" fmla="*/ 0 w 106"/>
                <a:gd name="T1" fmla="*/ 387982774 h 218"/>
                <a:gd name="T2" fmla="*/ 0 w 106"/>
                <a:gd name="T3" fmla="*/ 0 h 218"/>
                <a:gd name="T4" fmla="*/ 188691457 w 106"/>
                <a:gd name="T5" fmla="*/ 193991387 h 218"/>
                <a:gd name="T6" fmla="*/ 0 w 106"/>
                <a:gd name="T7" fmla="*/ 387982774 h 2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6" h="218">
                  <a:moveTo>
                    <a:pt x="0" y="218"/>
                  </a:moveTo>
                  <a:lnTo>
                    <a:pt x="0" y="0"/>
                  </a:lnTo>
                  <a:lnTo>
                    <a:pt x="106" y="109"/>
                  </a:lnTo>
                  <a:lnTo>
                    <a:pt x="0" y="2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340" dirty="0"/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4899274" y="823248"/>
            <a:ext cx="2393454" cy="365535"/>
            <a:chOff x="3712598" y="617435"/>
            <a:chExt cx="1795091" cy="274151"/>
          </a:xfrm>
        </p:grpSpPr>
        <p:sp>
          <p:nvSpPr>
            <p:cNvPr id="69" name="Freeform 7"/>
            <p:cNvSpPr>
              <a:spLocks/>
            </p:cNvSpPr>
            <p:nvPr/>
          </p:nvSpPr>
          <p:spPr bwMode="auto">
            <a:xfrm>
              <a:off x="3712598" y="636506"/>
              <a:ext cx="688952" cy="240776"/>
            </a:xfrm>
            <a:custGeom>
              <a:avLst/>
              <a:gdLst>
                <a:gd name="T0" fmla="*/ 0 w 578"/>
                <a:gd name="T1" fmla="*/ 202 h 202"/>
                <a:gd name="T2" fmla="*/ 164 w 578"/>
                <a:gd name="T3" fmla="*/ 202 h 202"/>
                <a:gd name="T4" fmla="*/ 198 w 578"/>
                <a:gd name="T5" fmla="*/ 122 h 202"/>
                <a:gd name="T6" fmla="*/ 358 w 578"/>
                <a:gd name="T7" fmla="*/ 122 h 202"/>
                <a:gd name="T8" fmla="*/ 322 w 578"/>
                <a:gd name="T9" fmla="*/ 202 h 202"/>
                <a:gd name="T10" fmla="*/ 488 w 578"/>
                <a:gd name="T11" fmla="*/ 202 h 202"/>
                <a:gd name="T12" fmla="*/ 578 w 578"/>
                <a:gd name="T13" fmla="*/ 0 h 202"/>
                <a:gd name="T14" fmla="*/ 412 w 578"/>
                <a:gd name="T15" fmla="*/ 0 h 202"/>
                <a:gd name="T16" fmla="*/ 382 w 578"/>
                <a:gd name="T17" fmla="*/ 68 h 202"/>
                <a:gd name="T18" fmla="*/ 222 w 578"/>
                <a:gd name="T19" fmla="*/ 68 h 202"/>
                <a:gd name="T20" fmla="*/ 252 w 578"/>
                <a:gd name="T21" fmla="*/ 0 h 202"/>
                <a:gd name="T22" fmla="*/ 90 w 578"/>
                <a:gd name="T23" fmla="*/ 0 h 202"/>
                <a:gd name="T24" fmla="*/ 0 w 578"/>
                <a:gd name="T25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8" h="202">
                  <a:moveTo>
                    <a:pt x="0" y="202"/>
                  </a:moveTo>
                  <a:lnTo>
                    <a:pt x="164" y="202"/>
                  </a:lnTo>
                  <a:lnTo>
                    <a:pt x="198" y="122"/>
                  </a:lnTo>
                  <a:lnTo>
                    <a:pt x="358" y="122"/>
                  </a:lnTo>
                  <a:lnTo>
                    <a:pt x="322" y="202"/>
                  </a:lnTo>
                  <a:lnTo>
                    <a:pt x="488" y="202"/>
                  </a:lnTo>
                  <a:lnTo>
                    <a:pt x="578" y="0"/>
                  </a:lnTo>
                  <a:lnTo>
                    <a:pt x="412" y="0"/>
                  </a:lnTo>
                  <a:lnTo>
                    <a:pt x="382" y="68"/>
                  </a:lnTo>
                  <a:lnTo>
                    <a:pt x="222" y="68"/>
                  </a:lnTo>
                  <a:lnTo>
                    <a:pt x="252" y="0"/>
                  </a:lnTo>
                  <a:lnTo>
                    <a:pt x="90" y="0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70" name="Freeform 8"/>
            <p:cNvSpPr>
              <a:spLocks/>
            </p:cNvSpPr>
            <p:nvPr/>
          </p:nvSpPr>
          <p:spPr bwMode="auto">
            <a:xfrm>
              <a:off x="4368175" y="617435"/>
              <a:ext cx="650810" cy="274151"/>
            </a:xfrm>
            <a:custGeom>
              <a:avLst/>
              <a:gdLst>
                <a:gd name="T0" fmla="*/ 195 w 273"/>
                <a:gd name="T1" fmla="*/ 43 h 115"/>
                <a:gd name="T2" fmla="*/ 273 w 273"/>
                <a:gd name="T3" fmla="*/ 43 h 115"/>
                <a:gd name="T4" fmla="*/ 223 w 273"/>
                <a:gd name="T5" fmla="*/ 9 h 115"/>
                <a:gd name="T6" fmla="*/ 42 w 273"/>
                <a:gd name="T7" fmla="*/ 31 h 115"/>
                <a:gd name="T8" fmla="*/ 38 w 273"/>
                <a:gd name="T9" fmla="*/ 101 h 115"/>
                <a:gd name="T10" fmla="*/ 188 w 273"/>
                <a:gd name="T11" fmla="*/ 107 h 115"/>
                <a:gd name="T12" fmla="*/ 257 w 273"/>
                <a:gd name="T13" fmla="*/ 76 h 115"/>
                <a:gd name="T14" fmla="*/ 178 w 273"/>
                <a:gd name="T15" fmla="*/ 76 h 115"/>
                <a:gd name="T16" fmla="*/ 139 w 273"/>
                <a:gd name="T17" fmla="*/ 88 h 115"/>
                <a:gd name="T18" fmla="*/ 97 w 273"/>
                <a:gd name="T19" fmla="*/ 59 h 115"/>
                <a:gd name="T20" fmla="*/ 154 w 273"/>
                <a:gd name="T21" fmla="*/ 30 h 115"/>
                <a:gd name="T22" fmla="*/ 195 w 273"/>
                <a:gd name="T23" fmla="*/ 4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3" h="115">
                  <a:moveTo>
                    <a:pt x="195" y="43"/>
                  </a:moveTo>
                  <a:cubicBezTo>
                    <a:pt x="273" y="43"/>
                    <a:pt x="273" y="43"/>
                    <a:pt x="273" y="43"/>
                  </a:cubicBezTo>
                  <a:cubicBezTo>
                    <a:pt x="272" y="26"/>
                    <a:pt x="256" y="14"/>
                    <a:pt x="223" y="9"/>
                  </a:cubicBezTo>
                  <a:cubicBezTo>
                    <a:pt x="160" y="0"/>
                    <a:pt x="91" y="4"/>
                    <a:pt x="42" y="31"/>
                  </a:cubicBezTo>
                  <a:cubicBezTo>
                    <a:pt x="3" y="53"/>
                    <a:pt x="0" y="85"/>
                    <a:pt x="38" y="101"/>
                  </a:cubicBezTo>
                  <a:cubicBezTo>
                    <a:pt x="71" y="114"/>
                    <a:pt x="139" y="115"/>
                    <a:pt x="188" y="107"/>
                  </a:cubicBezTo>
                  <a:cubicBezTo>
                    <a:pt x="219" y="102"/>
                    <a:pt x="244" y="91"/>
                    <a:pt x="257" y="76"/>
                  </a:cubicBezTo>
                  <a:cubicBezTo>
                    <a:pt x="178" y="76"/>
                    <a:pt x="178" y="76"/>
                    <a:pt x="178" y="76"/>
                  </a:cubicBezTo>
                  <a:cubicBezTo>
                    <a:pt x="168" y="84"/>
                    <a:pt x="155" y="88"/>
                    <a:pt x="139" y="88"/>
                  </a:cubicBezTo>
                  <a:cubicBezTo>
                    <a:pt x="95" y="88"/>
                    <a:pt x="89" y="75"/>
                    <a:pt x="97" y="59"/>
                  </a:cubicBezTo>
                  <a:cubicBezTo>
                    <a:pt x="106" y="41"/>
                    <a:pt x="125" y="31"/>
                    <a:pt x="154" y="30"/>
                  </a:cubicBezTo>
                  <a:cubicBezTo>
                    <a:pt x="178" y="30"/>
                    <a:pt x="189" y="35"/>
                    <a:pt x="195" y="4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71" name="Freeform 9"/>
            <p:cNvSpPr>
              <a:spLocks/>
            </p:cNvSpPr>
            <p:nvPr/>
          </p:nvSpPr>
          <p:spPr bwMode="auto">
            <a:xfrm>
              <a:off x="5004682" y="636506"/>
              <a:ext cx="503007" cy="240776"/>
            </a:xfrm>
            <a:custGeom>
              <a:avLst/>
              <a:gdLst>
                <a:gd name="T0" fmla="*/ 258 w 422"/>
                <a:gd name="T1" fmla="*/ 0 h 202"/>
                <a:gd name="T2" fmla="*/ 190 w 422"/>
                <a:gd name="T3" fmla="*/ 154 h 202"/>
                <a:gd name="T4" fmla="*/ 422 w 422"/>
                <a:gd name="T5" fmla="*/ 154 h 202"/>
                <a:gd name="T6" fmla="*/ 400 w 422"/>
                <a:gd name="T7" fmla="*/ 202 h 202"/>
                <a:gd name="T8" fmla="*/ 0 w 422"/>
                <a:gd name="T9" fmla="*/ 202 h 202"/>
                <a:gd name="T10" fmla="*/ 90 w 422"/>
                <a:gd name="T11" fmla="*/ 0 h 202"/>
                <a:gd name="T12" fmla="*/ 258 w 422"/>
                <a:gd name="T1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2" h="202">
                  <a:moveTo>
                    <a:pt x="258" y="0"/>
                  </a:moveTo>
                  <a:lnTo>
                    <a:pt x="190" y="154"/>
                  </a:lnTo>
                  <a:lnTo>
                    <a:pt x="422" y="154"/>
                  </a:lnTo>
                  <a:lnTo>
                    <a:pt x="400" y="202"/>
                  </a:lnTo>
                  <a:lnTo>
                    <a:pt x="0" y="202"/>
                  </a:lnTo>
                  <a:lnTo>
                    <a:pt x="90" y="0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3616727" y="2644563"/>
            <a:ext cx="4958551" cy="1061639"/>
            <a:chOff x="2697049" y="1983421"/>
            <a:chExt cx="3718913" cy="796229"/>
          </a:xfrm>
        </p:grpSpPr>
        <p:sp>
          <p:nvSpPr>
            <p:cNvPr id="73" name="Freeform 51"/>
            <p:cNvSpPr>
              <a:spLocks noEditPoints="1"/>
            </p:cNvSpPr>
            <p:nvPr/>
          </p:nvSpPr>
          <p:spPr bwMode="auto">
            <a:xfrm>
              <a:off x="3412224" y="2588936"/>
              <a:ext cx="83437" cy="112044"/>
            </a:xfrm>
            <a:custGeom>
              <a:avLst/>
              <a:gdLst>
                <a:gd name="T0" fmla="*/ 19 w 35"/>
                <a:gd name="T1" fmla="*/ 0 h 47"/>
                <a:gd name="T2" fmla="*/ 32 w 35"/>
                <a:gd name="T3" fmla="*/ 12 h 47"/>
                <a:gd name="T4" fmla="*/ 25 w 35"/>
                <a:gd name="T5" fmla="*/ 21 h 47"/>
                <a:gd name="T6" fmla="*/ 25 w 35"/>
                <a:gd name="T7" fmla="*/ 21 h 47"/>
                <a:gd name="T8" fmla="*/ 35 w 35"/>
                <a:gd name="T9" fmla="*/ 33 h 47"/>
                <a:gd name="T10" fmla="*/ 19 w 35"/>
                <a:gd name="T11" fmla="*/ 47 h 47"/>
                <a:gd name="T12" fmla="*/ 0 w 35"/>
                <a:gd name="T13" fmla="*/ 47 h 47"/>
                <a:gd name="T14" fmla="*/ 0 w 35"/>
                <a:gd name="T15" fmla="*/ 0 h 47"/>
                <a:gd name="T16" fmla="*/ 19 w 35"/>
                <a:gd name="T17" fmla="*/ 0 h 47"/>
                <a:gd name="T18" fmla="*/ 17 w 35"/>
                <a:gd name="T19" fmla="*/ 19 h 47"/>
                <a:gd name="T20" fmla="*/ 25 w 35"/>
                <a:gd name="T21" fmla="*/ 13 h 47"/>
                <a:gd name="T22" fmla="*/ 17 w 35"/>
                <a:gd name="T23" fmla="*/ 6 h 47"/>
                <a:gd name="T24" fmla="*/ 8 w 35"/>
                <a:gd name="T25" fmla="*/ 6 h 47"/>
                <a:gd name="T26" fmla="*/ 8 w 35"/>
                <a:gd name="T27" fmla="*/ 19 h 47"/>
                <a:gd name="T28" fmla="*/ 17 w 35"/>
                <a:gd name="T29" fmla="*/ 19 h 47"/>
                <a:gd name="T30" fmla="*/ 19 w 35"/>
                <a:gd name="T31" fmla="*/ 41 h 47"/>
                <a:gd name="T32" fmla="*/ 28 w 35"/>
                <a:gd name="T33" fmla="*/ 33 h 47"/>
                <a:gd name="T34" fmla="*/ 19 w 35"/>
                <a:gd name="T35" fmla="*/ 25 h 47"/>
                <a:gd name="T36" fmla="*/ 8 w 35"/>
                <a:gd name="T37" fmla="*/ 25 h 47"/>
                <a:gd name="T38" fmla="*/ 8 w 35"/>
                <a:gd name="T39" fmla="*/ 41 h 47"/>
                <a:gd name="T40" fmla="*/ 19 w 35"/>
                <a:gd name="T41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47">
                  <a:moveTo>
                    <a:pt x="19" y="0"/>
                  </a:moveTo>
                  <a:cubicBezTo>
                    <a:pt x="27" y="0"/>
                    <a:pt x="32" y="5"/>
                    <a:pt x="32" y="12"/>
                  </a:cubicBezTo>
                  <a:cubicBezTo>
                    <a:pt x="32" y="16"/>
                    <a:pt x="29" y="20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30" y="22"/>
                    <a:pt x="35" y="27"/>
                    <a:pt x="35" y="33"/>
                  </a:cubicBezTo>
                  <a:cubicBezTo>
                    <a:pt x="35" y="41"/>
                    <a:pt x="30" y="47"/>
                    <a:pt x="19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9" y="0"/>
                  </a:lnTo>
                  <a:close/>
                  <a:moveTo>
                    <a:pt x="17" y="19"/>
                  </a:moveTo>
                  <a:cubicBezTo>
                    <a:pt x="22" y="19"/>
                    <a:pt x="25" y="16"/>
                    <a:pt x="25" y="13"/>
                  </a:cubicBezTo>
                  <a:cubicBezTo>
                    <a:pt x="25" y="9"/>
                    <a:pt x="22" y="6"/>
                    <a:pt x="17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19"/>
                    <a:pt x="8" y="19"/>
                    <a:pt x="8" y="19"/>
                  </a:cubicBezTo>
                  <a:lnTo>
                    <a:pt x="17" y="19"/>
                  </a:lnTo>
                  <a:close/>
                  <a:moveTo>
                    <a:pt x="19" y="41"/>
                  </a:moveTo>
                  <a:cubicBezTo>
                    <a:pt x="24" y="41"/>
                    <a:pt x="28" y="37"/>
                    <a:pt x="28" y="33"/>
                  </a:cubicBezTo>
                  <a:cubicBezTo>
                    <a:pt x="28" y="28"/>
                    <a:pt x="24" y="25"/>
                    <a:pt x="19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41"/>
                    <a:pt x="8" y="41"/>
                    <a:pt x="8" y="41"/>
                  </a:cubicBezTo>
                  <a:lnTo>
                    <a:pt x="19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74" name="Freeform 52"/>
            <p:cNvSpPr>
              <a:spLocks/>
            </p:cNvSpPr>
            <p:nvPr/>
          </p:nvSpPr>
          <p:spPr bwMode="auto">
            <a:xfrm>
              <a:off x="3521884" y="2588936"/>
              <a:ext cx="78669" cy="112044"/>
            </a:xfrm>
            <a:custGeom>
              <a:avLst/>
              <a:gdLst>
                <a:gd name="T0" fmla="*/ 66 w 66"/>
                <a:gd name="T1" fmla="*/ 80 h 94"/>
                <a:gd name="T2" fmla="*/ 66 w 66"/>
                <a:gd name="T3" fmla="*/ 94 h 94"/>
                <a:gd name="T4" fmla="*/ 0 w 66"/>
                <a:gd name="T5" fmla="*/ 94 h 94"/>
                <a:gd name="T6" fmla="*/ 0 w 66"/>
                <a:gd name="T7" fmla="*/ 0 h 94"/>
                <a:gd name="T8" fmla="*/ 64 w 66"/>
                <a:gd name="T9" fmla="*/ 0 h 94"/>
                <a:gd name="T10" fmla="*/ 64 w 66"/>
                <a:gd name="T11" fmla="*/ 14 h 94"/>
                <a:gd name="T12" fmla="*/ 16 w 66"/>
                <a:gd name="T13" fmla="*/ 14 h 94"/>
                <a:gd name="T14" fmla="*/ 16 w 66"/>
                <a:gd name="T15" fmla="*/ 38 h 94"/>
                <a:gd name="T16" fmla="*/ 54 w 66"/>
                <a:gd name="T17" fmla="*/ 38 h 94"/>
                <a:gd name="T18" fmla="*/ 54 w 66"/>
                <a:gd name="T19" fmla="*/ 52 h 94"/>
                <a:gd name="T20" fmla="*/ 16 w 66"/>
                <a:gd name="T21" fmla="*/ 52 h 94"/>
                <a:gd name="T22" fmla="*/ 16 w 66"/>
                <a:gd name="T23" fmla="*/ 80 h 94"/>
                <a:gd name="T24" fmla="*/ 66 w 66"/>
                <a:gd name="T25" fmla="*/ 8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75" name="Freeform 53"/>
            <p:cNvSpPr>
              <a:spLocks/>
            </p:cNvSpPr>
            <p:nvPr/>
          </p:nvSpPr>
          <p:spPr bwMode="auto">
            <a:xfrm>
              <a:off x="3619625" y="2588936"/>
              <a:ext cx="102508" cy="112044"/>
            </a:xfrm>
            <a:custGeom>
              <a:avLst/>
              <a:gdLst>
                <a:gd name="T0" fmla="*/ 43 w 43"/>
                <a:gd name="T1" fmla="*/ 0 h 47"/>
                <a:gd name="T2" fmla="*/ 25 w 43"/>
                <a:gd name="T3" fmla="*/ 25 h 47"/>
                <a:gd name="T4" fmla="*/ 25 w 43"/>
                <a:gd name="T5" fmla="*/ 47 h 47"/>
                <a:gd name="T6" fmla="*/ 18 w 43"/>
                <a:gd name="T7" fmla="*/ 47 h 47"/>
                <a:gd name="T8" fmla="*/ 18 w 43"/>
                <a:gd name="T9" fmla="*/ 25 h 47"/>
                <a:gd name="T10" fmla="*/ 0 w 43"/>
                <a:gd name="T11" fmla="*/ 0 h 47"/>
                <a:gd name="T12" fmla="*/ 8 w 43"/>
                <a:gd name="T13" fmla="*/ 0 h 47"/>
                <a:gd name="T14" fmla="*/ 19 w 43"/>
                <a:gd name="T15" fmla="*/ 14 h 47"/>
                <a:gd name="T16" fmla="*/ 21 w 43"/>
                <a:gd name="T17" fmla="*/ 18 h 47"/>
                <a:gd name="T18" fmla="*/ 22 w 43"/>
                <a:gd name="T19" fmla="*/ 18 h 47"/>
                <a:gd name="T20" fmla="*/ 24 w 43"/>
                <a:gd name="T21" fmla="*/ 14 h 47"/>
                <a:gd name="T22" fmla="*/ 35 w 43"/>
                <a:gd name="T23" fmla="*/ 0 h 47"/>
                <a:gd name="T24" fmla="*/ 43 w 43"/>
                <a:gd name="T2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47">
                  <a:moveTo>
                    <a:pt x="43" y="0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6"/>
                    <a:pt x="21" y="18"/>
                    <a:pt x="21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3" y="16"/>
                    <a:pt x="24" y="14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76" name="Freeform 54"/>
            <p:cNvSpPr>
              <a:spLocks noEditPoints="1"/>
            </p:cNvSpPr>
            <p:nvPr/>
          </p:nvSpPr>
          <p:spPr bwMode="auto">
            <a:xfrm>
              <a:off x="3726901" y="2586552"/>
              <a:ext cx="114428" cy="116812"/>
            </a:xfrm>
            <a:custGeom>
              <a:avLst/>
              <a:gdLst>
                <a:gd name="T0" fmla="*/ 24 w 48"/>
                <a:gd name="T1" fmla="*/ 0 h 49"/>
                <a:gd name="T2" fmla="*/ 48 w 48"/>
                <a:gd name="T3" fmla="*/ 24 h 49"/>
                <a:gd name="T4" fmla="*/ 24 w 48"/>
                <a:gd name="T5" fmla="*/ 49 h 49"/>
                <a:gd name="T6" fmla="*/ 0 w 48"/>
                <a:gd name="T7" fmla="*/ 24 h 49"/>
                <a:gd name="T8" fmla="*/ 24 w 48"/>
                <a:gd name="T9" fmla="*/ 0 h 49"/>
                <a:gd name="T10" fmla="*/ 24 w 48"/>
                <a:gd name="T11" fmla="*/ 41 h 49"/>
                <a:gd name="T12" fmla="*/ 41 w 48"/>
                <a:gd name="T13" fmla="*/ 24 h 49"/>
                <a:gd name="T14" fmla="*/ 24 w 48"/>
                <a:gd name="T15" fmla="*/ 7 h 49"/>
                <a:gd name="T16" fmla="*/ 7 w 48"/>
                <a:gd name="T17" fmla="*/ 24 h 49"/>
                <a:gd name="T18" fmla="*/ 24 w 48"/>
                <a:gd name="T1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9">
                  <a:moveTo>
                    <a:pt x="24" y="0"/>
                  </a:moveTo>
                  <a:cubicBezTo>
                    <a:pt x="37" y="0"/>
                    <a:pt x="48" y="10"/>
                    <a:pt x="48" y="24"/>
                  </a:cubicBezTo>
                  <a:cubicBezTo>
                    <a:pt x="48" y="39"/>
                    <a:pt x="37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77" name="Freeform 55"/>
            <p:cNvSpPr>
              <a:spLocks/>
            </p:cNvSpPr>
            <p:nvPr/>
          </p:nvSpPr>
          <p:spPr bwMode="auto">
            <a:xfrm>
              <a:off x="3867553" y="2588936"/>
              <a:ext cx="92973" cy="112044"/>
            </a:xfrm>
            <a:custGeom>
              <a:avLst/>
              <a:gdLst>
                <a:gd name="T0" fmla="*/ 39 w 39"/>
                <a:gd name="T1" fmla="*/ 0 h 47"/>
                <a:gd name="T2" fmla="*/ 39 w 39"/>
                <a:gd name="T3" fmla="*/ 47 h 47"/>
                <a:gd name="T4" fmla="*/ 32 w 39"/>
                <a:gd name="T5" fmla="*/ 47 h 47"/>
                <a:gd name="T6" fmla="*/ 15 w 39"/>
                <a:gd name="T7" fmla="*/ 24 h 47"/>
                <a:gd name="T8" fmla="*/ 7 w 39"/>
                <a:gd name="T9" fmla="*/ 12 h 47"/>
                <a:gd name="T10" fmla="*/ 7 w 39"/>
                <a:gd name="T11" fmla="*/ 12 h 47"/>
                <a:gd name="T12" fmla="*/ 7 w 39"/>
                <a:gd name="T13" fmla="*/ 27 h 47"/>
                <a:gd name="T14" fmla="*/ 7 w 39"/>
                <a:gd name="T15" fmla="*/ 47 h 47"/>
                <a:gd name="T16" fmla="*/ 0 w 39"/>
                <a:gd name="T17" fmla="*/ 47 h 47"/>
                <a:gd name="T18" fmla="*/ 0 w 39"/>
                <a:gd name="T19" fmla="*/ 0 h 47"/>
                <a:gd name="T20" fmla="*/ 7 w 39"/>
                <a:gd name="T21" fmla="*/ 0 h 47"/>
                <a:gd name="T22" fmla="*/ 24 w 39"/>
                <a:gd name="T23" fmla="*/ 23 h 47"/>
                <a:gd name="T24" fmla="*/ 32 w 39"/>
                <a:gd name="T25" fmla="*/ 34 h 47"/>
                <a:gd name="T26" fmla="*/ 32 w 39"/>
                <a:gd name="T27" fmla="*/ 34 h 47"/>
                <a:gd name="T28" fmla="*/ 32 w 39"/>
                <a:gd name="T29" fmla="*/ 20 h 47"/>
                <a:gd name="T30" fmla="*/ 32 w 39"/>
                <a:gd name="T31" fmla="*/ 0 h 47"/>
                <a:gd name="T32" fmla="*/ 39 w 39"/>
                <a:gd name="T3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47">
                  <a:moveTo>
                    <a:pt x="39" y="0"/>
                  </a:moveTo>
                  <a:cubicBezTo>
                    <a:pt x="39" y="47"/>
                    <a:pt x="39" y="47"/>
                    <a:pt x="39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1" y="18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9"/>
                    <a:pt x="7" y="2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7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78" name="Freeform 56"/>
            <p:cNvSpPr>
              <a:spLocks noEditPoints="1"/>
            </p:cNvSpPr>
            <p:nvPr/>
          </p:nvSpPr>
          <p:spPr bwMode="auto">
            <a:xfrm>
              <a:off x="3996284" y="2588936"/>
              <a:ext cx="104892" cy="112044"/>
            </a:xfrm>
            <a:custGeom>
              <a:avLst/>
              <a:gdLst>
                <a:gd name="T0" fmla="*/ 20 w 44"/>
                <a:gd name="T1" fmla="*/ 0 h 47"/>
                <a:gd name="T2" fmla="*/ 44 w 44"/>
                <a:gd name="T3" fmla="*/ 24 h 47"/>
                <a:gd name="T4" fmla="*/ 20 w 44"/>
                <a:gd name="T5" fmla="*/ 47 h 47"/>
                <a:gd name="T6" fmla="*/ 0 w 44"/>
                <a:gd name="T7" fmla="*/ 47 h 47"/>
                <a:gd name="T8" fmla="*/ 0 w 44"/>
                <a:gd name="T9" fmla="*/ 0 h 47"/>
                <a:gd name="T10" fmla="*/ 20 w 44"/>
                <a:gd name="T11" fmla="*/ 0 h 47"/>
                <a:gd name="T12" fmla="*/ 20 w 44"/>
                <a:gd name="T13" fmla="*/ 40 h 47"/>
                <a:gd name="T14" fmla="*/ 36 w 44"/>
                <a:gd name="T15" fmla="*/ 24 h 47"/>
                <a:gd name="T16" fmla="*/ 20 w 44"/>
                <a:gd name="T17" fmla="*/ 7 h 47"/>
                <a:gd name="T18" fmla="*/ 7 w 44"/>
                <a:gd name="T19" fmla="*/ 7 h 47"/>
                <a:gd name="T20" fmla="*/ 7 w 44"/>
                <a:gd name="T21" fmla="*/ 40 h 47"/>
                <a:gd name="T22" fmla="*/ 20 w 44"/>
                <a:gd name="T23" fmla="*/ 4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" h="47">
                  <a:moveTo>
                    <a:pt x="20" y="0"/>
                  </a:moveTo>
                  <a:cubicBezTo>
                    <a:pt x="33" y="0"/>
                    <a:pt x="44" y="10"/>
                    <a:pt x="44" y="24"/>
                  </a:cubicBezTo>
                  <a:cubicBezTo>
                    <a:pt x="44" y="38"/>
                    <a:pt x="33" y="47"/>
                    <a:pt x="20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0" y="0"/>
                  </a:lnTo>
                  <a:close/>
                  <a:moveTo>
                    <a:pt x="20" y="40"/>
                  </a:moveTo>
                  <a:cubicBezTo>
                    <a:pt x="29" y="40"/>
                    <a:pt x="36" y="34"/>
                    <a:pt x="36" y="24"/>
                  </a:cubicBezTo>
                  <a:cubicBezTo>
                    <a:pt x="36" y="13"/>
                    <a:pt x="29" y="7"/>
                    <a:pt x="20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40"/>
                    <a:pt x="7" y="40"/>
                    <a:pt x="7" y="40"/>
                  </a:cubicBezTo>
                  <a:lnTo>
                    <a:pt x="20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4163158" y="2588936"/>
              <a:ext cx="88205" cy="112044"/>
            </a:xfrm>
            <a:custGeom>
              <a:avLst/>
              <a:gdLst>
                <a:gd name="T0" fmla="*/ 74 w 74"/>
                <a:gd name="T1" fmla="*/ 0 h 94"/>
                <a:gd name="T2" fmla="*/ 74 w 74"/>
                <a:gd name="T3" fmla="*/ 14 h 94"/>
                <a:gd name="T4" fmla="*/ 44 w 74"/>
                <a:gd name="T5" fmla="*/ 14 h 94"/>
                <a:gd name="T6" fmla="*/ 44 w 74"/>
                <a:gd name="T7" fmla="*/ 94 h 94"/>
                <a:gd name="T8" fmla="*/ 30 w 74"/>
                <a:gd name="T9" fmla="*/ 94 h 94"/>
                <a:gd name="T10" fmla="*/ 30 w 74"/>
                <a:gd name="T11" fmla="*/ 14 h 94"/>
                <a:gd name="T12" fmla="*/ 0 w 74"/>
                <a:gd name="T13" fmla="*/ 14 h 94"/>
                <a:gd name="T14" fmla="*/ 0 w 74"/>
                <a:gd name="T15" fmla="*/ 0 h 94"/>
                <a:gd name="T16" fmla="*/ 74 w 74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" h="94">
                  <a:moveTo>
                    <a:pt x="74" y="0"/>
                  </a:moveTo>
                  <a:lnTo>
                    <a:pt x="74" y="14"/>
                  </a:lnTo>
                  <a:lnTo>
                    <a:pt x="44" y="14"/>
                  </a:lnTo>
                  <a:lnTo>
                    <a:pt x="44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4275203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94 h 94"/>
                <a:gd name="T4" fmla="*/ 60 w 76"/>
                <a:gd name="T5" fmla="*/ 94 h 94"/>
                <a:gd name="T6" fmla="*/ 60 w 76"/>
                <a:gd name="T7" fmla="*/ 52 h 94"/>
                <a:gd name="T8" fmla="*/ 16 w 76"/>
                <a:gd name="T9" fmla="*/ 52 h 94"/>
                <a:gd name="T10" fmla="*/ 16 w 76"/>
                <a:gd name="T11" fmla="*/ 94 h 94"/>
                <a:gd name="T12" fmla="*/ 0 w 76"/>
                <a:gd name="T13" fmla="*/ 94 h 94"/>
                <a:gd name="T14" fmla="*/ 0 w 76"/>
                <a:gd name="T15" fmla="*/ 0 h 94"/>
                <a:gd name="T16" fmla="*/ 16 w 76"/>
                <a:gd name="T17" fmla="*/ 0 h 94"/>
                <a:gd name="T18" fmla="*/ 16 w 76"/>
                <a:gd name="T19" fmla="*/ 38 h 94"/>
                <a:gd name="T20" fmla="*/ 60 w 76"/>
                <a:gd name="T21" fmla="*/ 38 h 94"/>
                <a:gd name="T22" fmla="*/ 60 w 76"/>
                <a:gd name="T23" fmla="*/ 0 h 94"/>
                <a:gd name="T24" fmla="*/ 76 w 76"/>
                <a:gd name="T2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94"/>
                  </a:lnTo>
                  <a:lnTo>
                    <a:pt x="60" y="94"/>
                  </a:lnTo>
                  <a:lnTo>
                    <a:pt x="60" y="52"/>
                  </a:lnTo>
                  <a:lnTo>
                    <a:pt x="16" y="52"/>
                  </a:lnTo>
                  <a:lnTo>
                    <a:pt x="1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38"/>
                  </a:lnTo>
                  <a:lnTo>
                    <a:pt x="60" y="38"/>
                  </a:lnTo>
                  <a:lnTo>
                    <a:pt x="6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81" name="Freeform 59"/>
            <p:cNvSpPr>
              <a:spLocks/>
            </p:cNvSpPr>
            <p:nvPr/>
          </p:nvSpPr>
          <p:spPr bwMode="auto">
            <a:xfrm>
              <a:off x="4399166" y="2588936"/>
              <a:ext cx="78669" cy="112044"/>
            </a:xfrm>
            <a:custGeom>
              <a:avLst/>
              <a:gdLst>
                <a:gd name="T0" fmla="*/ 66 w 66"/>
                <a:gd name="T1" fmla="*/ 80 h 94"/>
                <a:gd name="T2" fmla="*/ 66 w 66"/>
                <a:gd name="T3" fmla="*/ 94 h 94"/>
                <a:gd name="T4" fmla="*/ 0 w 66"/>
                <a:gd name="T5" fmla="*/ 94 h 94"/>
                <a:gd name="T6" fmla="*/ 0 w 66"/>
                <a:gd name="T7" fmla="*/ 0 h 94"/>
                <a:gd name="T8" fmla="*/ 64 w 66"/>
                <a:gd name="T9" fmla="*/ 0 h 94"/>
                <a:gd name="T10" fmla="*/ 64 w 66"/>
                <a:gd name="T11" fmla="*/ 14 h 94"/>
                <a:gd name="T12" fmla="*/ 16 w 66"/>
                <a:gd name="T13" fmla="*/ 14 h 94"/>
                <a:gd name="T14" fmla="*/ 16 w 66"/>
                <a:gd name="T15" fmla="*/ 38 h 94"/>
                <a:gd name="T16" fmla="*/ 54 w 66"/>
                <a:gd name="T17" fmla="*/ 38 h 94"/>
                <a:gd name="T18" fmla="*/ 54 w 66"/>
                <a:gd name="T19" fmla="*/ 52 h 94"/>
                <a:gd name="T20" fmla="*/ 16 w 66"/>
                <a:gd name="T21" fmla="*/ 52 h 94"/>
                <a:gd name="T22" fmla="*/ 16 w 66"/>
                <a:gd name="T23" fmla="*/ 80 h 94"/>
                <a:gd name="T24" fmla="*/ 66 w 66"/>
                <a:gd name="T25" fmla="*/ 8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82" name="Freeform 60"/>
            <p:cNvSpPr>
              <a:spLocks/>
            </p:cNvSpPr>
            <p:nvPr/>
          </p:nvSpPr>
          <p:spPr bwMode="auto">
            <a:xfrm>
              <a:off x="4546969" y="2586552"/>
              <a:ext cx="109660" cy="116812"/>
            </a:xfrm>
            <a:custGeom>
              <a:avLst/>
              <a:gdLst>
                <a:gd name="T0" fmla="*/ 38 w 46"/>
                <a:gd name="T1" fmla="*/ 14 h 49"/>
                <a:gd name="T2" fmla="*/ 24 w 46"/>
                <a:gd name="T3" fmla="*/ 7 h 49"/>
                <a:gd name="T4" fmla="*/ 7 w 46"/>
                <a:gd name="T5" fmla="*/ 24 h 49"/>
                <a:gd name="T6" fmla="*/ 24 w 46"/>
                <a:gd name="T7" fmla="*/ 41 h 49"/>
                <a:gd name="T8" fmla="*/ 39 w 46"/>
                <a:gd name="T9" fmla="*/ 33 h 49"/>
                <a:gd name="T10" fmla="*/ 46 w 46"/>
                <a:gd name="T11" fmla="*/ 35 h 49"/>
                <a:gd name="T12" fmla="*/ 24 w 46"/>
                <a:gd name="T13" fmla="*/ 49 h 49"/>
                <a:gd name="T14" fmla="*/ 0 w 46"/>
                <a:gd name="T15" fmla="*/ 24 h 49"/>
                <a:gd name="T16" fmla="*/ 24 w 46"/>
                <a:gd name="T17" fmla="*/ 0 h 49"/>
                <a:gd name="T18" fmla="*/ 45 w 46"/>
                <a:gd name="T19" fmla="*/ 12 h 49"/>
                <a:gd name="T20" fmla="*/ 38 w 46"/>
                <a:gd name="T21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9">
                  <a:moveTo>
                    <a:pt x="38" y="14"/>
                  </a:moveTo>
                  <a:cubicBezTo>
                    <a:pt x="35" y="10"/>
                    <a:pt x="30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5" y="41"/>
                    <a:pt x="24" y="41"/>
                  </a:cubicBezTo>
                  <a:cubicBezTo>
                    <a:pt x="30" y="41"/>
                    <a:pt x="36" y="38"/>
                    <a:pt x="39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4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8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83" name="Freeform 61"/>
            <p:cNvSpPr>
              <a:spLocks noEditPoints="1"/>
            </p:cNvSpPr>
            <p:nvPr/>
          </p:nvSpPr>
          <p:spPr bwMode="auto">
            <a:xfrm>
              <a:off x="4673317" y="2586552"/>
              <a:ext cx="116812" cy="116812"/>
            </a:xfrm>
            <a:custGeom>
              <a:avLst/>
              <a:gdLst>
                <a:gd name="T0" fmla="*/ 24 w 49"/>
                <a:gd name="T1" fmla="*/ 0 h 49"/>
                <a:gd name="T2" fmla="*/ 49 w 49"/>
                <a:gd name="T3" fmla="*/ 24 h 49"/>
                <a:gd name="T4" fmla="*/ 24 w 49"/>
                <a:gd name="T5" fmla="*/ 49 h 49"/>
                <a:gd name="T6" fmla="*/ 0 w 49"/>
                <a:gd name="T7" fmla="*/ 24 h 49"/>
                <a:gd name="T8" fmla="*/ 24 w 49"/>
                <a:gd name="T9" fmla="*/ 0 h 49"/>
                <a:gd name="T10" fmla="*/ 24 w 49"/>
                <a:gd name="T11" fmla="*/ 41 h 49"/>
                <a:gd name="T12" fmla="*/ 41 w 49"/>
                <a:gd name="T13" fmla="*/ 24 h 49"/>
                <a:gd name="T14" fmla="*/ 24 w 49"/>
                <a:gd name="T15" fmla="*/ 7 h 49"/>
                <a:gd name="T16" fmla="*/ 8 w 49"/>
                <a:gd name="T17" fmla="*/ 24 h 49"/>
                <a:gd name="T18" fmla="*/ 24 w 49"/>
                <a:gd name="T1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49">
                  <a:moveTo>
                    <a:pt x="24" y="0"/>
                  </a:moveTo>
                  <a:cubicBezTo>
                    <a:pt x="38" y="0"/>
                    <a:pt x="49" y="10"/>
                    <a:pt x="49" y="24"/>
                  </a:cubicBezTo>
                  <a:cubicBezTo>
                    <a:pt x="49" y="39"/>
                    <a:pt x="38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5" y="7"/>
                    <a:pt x="8" y="14"/>
                    <a:pt x="8" y="24"/>
                  </a:cubicBezTo>
                  <a:cubicBezTo>
                    <a:pt x="8" y="35"/>
                    <a:pt x="15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84" name="Freeform 62"/>
            <p:cNvSpPr>
              <a:spLocks/>
            </p:cNvSpPr>
            <p:nvPr/>
          </p:nvSpPr>
          <p:spPr bwMode="auto">
            <a:xfrm>
              <a:off x="4813968" y="2588936"/>
              <a:ext cx="95357" cy="112044"/>
            </a:xfrm>
            <a:custGeom>
              <a:avLst/>
              <a:gdLst>
                <a:gd name="T0" fmla="*/ 40 w 40"/>
                <a:gd name="T1" fmla="*/ 0 h 47"/>
                <a:gd name="T2" fmla="*/ 40 w 40"/>
                <a:gd name="T3" fmla="*/ 47 h 47"/>
                <a:gd name="T4" fmla="*/ 33 w 40"/>
                <a:gd name="T5" fmla="*/ 47 h 47"/>
                <a:gd name="T6" fmla="*/ 16 w 40"/>
                <a:gd name="T7" fmla="*/ 24 h 47"/>
                <a:gd name="T8" fmla="*/ 8 w 40"/>
                <a:gd name="T9" fmla="*/ 12 h 47"/>
                <a:gd name="T10" fmla="*/ 7 w 40"/>
                <a:gd name="T11" fmla="*/ 12 h 47"/>
                <a:gd name="T12" fmla="*/ 8 w 40"/>
                <a:gd name="T13" fmla="*/ 27 h 47"/>
                <a:gd name="T14" fmla="*/ 8 w 40"/>
                <a:gd name="T15" fmla="*/ 47 h 47"/>
                <a:gd name="T16" fmla="*/ 0 w 40"/>
                <a:gd name="T17" fmla="*/ 47 h 47"/>
                <a:gd name="T18" fmla="*/ 0 w 40"/>
                <a:gd name="T19" fmla="*/ 0 h 47"/>
                <a:gd name="T20" fmla="*/ 7 w 40"/>
                <a:gd name="T21" fmla="*/ 0 h 47"/>
                <a:gd name="T22" fmla="*/ 24 w 40"/>
                <a:gd name="T23" fmla="*/ 23 h 47"/>
                <a:gd name="T24" fmla="*/ 32 w 40"/>
                <a:gd name="T25" fmla="*/ 34 h 47"/>
                <a:gd name="T26" fmla="*/ 32 w 40"/>
                <a:gd name="T27" fmla="*/ 34 h 47"/>
                <a:gd name="T28" fmla="*/ 32 w 40"/>
                <a:gd name="T29" fmla="*/ 20 h 47"/>
                <a:gd name="T30" fmla="*/ 32 w 40"/>
                <a:gd name="T31" fmla="*/ 0 h 47"/>
                <a:gd name="T32" fmla="*/ 40 w 40"/>
                <a:gd name="T3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47">
                  <a:moveTo>
                    <a:pt x="40" y="0"/>
                  </a:moveTo>
                  <a:cubicBezTo>
                    <a:pt x="40" y="47"/>
                    <a:pt x="40" y="47"/>
                    <a:pt x="40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2" y="18"/>
                    <a:pt x="8" y="12"/>
                    <a:pt x="8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8" y="19"/>
                    <a:pt x="8" y="2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8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4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4930780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14 h 94"/>
                <a:gd name="T4" fmla="*/ 46 w 76"/>
                <a:gd name="T5" fmla="*/ 14 h 94"/>
                <a:gd name="T6" fmla="*/ 46 w 76"/>
                <a:gd name="T7" fmla="*/ 94 h 94"/>
                <a:gd name="T8" fmla="*/ 32 w 76"/>
                <a:gd name="T9" fmla="*/ 94 h 94"/>
                <a:gd name="T10" fmla="*/ 32 w 76"/>
                <a:gd name="T11" fmla="*/ 14 h 94"/>
                <a:gd name="T12" fmla="*/ 0 w 76"/>
                <a:gd name="T13" fmla="*/ 14 h 94"/>
                <a:gd name="T14" fmla="*/ 0 w 76"/>
                <a:gd name="T15" fmla="*/ 0 h 94"/>
                <a:gd name="T16" fmla="*/ 76 w 76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2" y="94"/>
                  </a:lnTo>
                  <a:lnTo>
                    <a:pt x="32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86" name="Freeform 64"/>
            <p:cNvSpPr>
              <a:spLocks noEditPoints="1"/>
            </p:cNvSpPr>
            <p:nvPr/>
          </p:nvSpPr>
          <p:spPr bwMode="auto">
            <a:xfrm>
              <a:off x="5045208" y="2588936"/>
              <a:ext cx="83437" cy="112044"/>
            </a:xfrm>
            <a:custGeom>
              <a:avLst/>
              <a:gdLst>
                <a:gd name="T0" fmla="*/ 26 w 35"/>
                <a:gd name="T1" fmla="*/ 47 h 47"/>
                <a:gd name="T2" fmla="*/ 17 w 35"/>
                <a:gd name="T3" fmla="*/ 30 h 47"/>
                <a:gd name="T4" fmla="*/ 15 w 35"/>
                <a:gd name="T5" fmla="*/ 30 h 47"/>
                <a:gd name="T6" fmla="*/ 7 w 35"/>
                <a:gd name="T7" fmla="*/ 30 h 47"/>
                <a:gd name="T8" fmla="*/ 7 w 35"/>
                <a:gd name="T9" fmla="*/ 47 h 47"/>
                <a:gd name="T10" fmla="*/ 0 w 35"/>
                <a:gd name="T11" fmla="*/ 47 h 47"/>
                <a:gd name="T12" fmla="*/ 0 w 35"/>
                <a:gd name="T13" fmla="*/ 0 h 47"/>
                <a:gd name="T14" fmla="*/ 15 w 35"/>
                <a:gd name="T15" fmla="*/ 0 h 47"/>
                <a:gd name="T16" fmla="*/ 33 w 35"/>
                <a:gd name="T17" fmla="*/ 15 h 47"/>
                <a:gd name="T18" fmla="*/ 24 w 35"/>
                <a:gd name="T19" fmla="*/ 29 h 47"/>
                <a:gd name="T20" fmla="*/ 35 w 35"/>
                <a:gd name="T21" fmla="*/ 47 h 47"/>
                <a:gd name="T22" fmla="*/ 26 w 35"/>
                <a:gd name="T23" fmla="*/ 47 h 47"/>
                <a:gd name="T24" fmla="*/ 16 w 35"/>
                <a:gd name="T25" fmla="*/ 24 h 47"/>
                <a:gd name="T26" fmla="*/ 25 w 35"/>
                <a:gd name="T27" fmla="*/ 15 h 47"/>
                <a:gd name="T28" fmla="*/ 16 w 35"/>
                <a:gd name="T29" fmla="*/ 7 h 47"/>
                <a:gd name="T30" fmla="*/ 7 w 35"/>
                <a:gd name="T31" fmla="*/ 7 h 47"/>
                <a:gd name="T32" fmla="*/ 7 w 35"/>
                <a:gd name="T33" fmla="*/ 24 h 47"/>
                <a:gd name="T34" fmla="*/ 16 w 35"/>
                <a:gd name="T35" fmla="*/ 2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7">
                  <a:moveTo>
                    <a:pt x="26" y="47"/>
                  </a:moveTo>
                  <a:cubicBezTo>
                    <a:pt x="17" y="30"/>
                    <a:pt x="17" y="30"/>
                    <a:pt x="17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6" y="0"/>
                    <a:pt x="33" y="6"/>
                    <a:pt x="33" y="15"/>
                  </a:cubicBezTo>
                  <a:cubicBezTo>
                    <a:pt x="33" y="22"/>
                    <a:pt x="30" y="26"/>
                    <a:pt x="24" y="29"/>
                  </a:cubicBezTo>
                  <a:cubicBezTo>
                    <a:pt x="35" y="47"/>
                    <a:pt x="35" y="47"/>
                    <a:pt x="35" y="47"/>
                  </a:cubicBezTo>
                  <a:lnTo>
                    <a:pt x="26" y="47"/>
                  </a:lnTo>
                  <a:close/>
                  <a:moveTo>
                    <a:pt x="16" y="24"/>
                  </a:moveTo>
                  <a:cubicBezTo>
                    <a:pt x="22" y="24"/>
                    <a:pt x="25" y="20"/>
                    <a:pt x="25" y="15"/>
                  </a:cubicBezTo>
                  <a:cubicBezTo>
                    <a:pt x="25" y="10"/>
                    <a:pt x="22" y="7"/>
                    <a:pt x="1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24"/>
                    <a:pt x="7" y="24"/>
                    <a:pt x="7" y="24"/>
                  </a:cubicBezTo>
                  <a:lnTo>
                    <a:pt x="16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87" name="Freeform 65"/>
            <p:cNvSpPr>
              <a:spLocks noEditPoints="1"/>
            </p:cNvSpPr>
            <p:nvPr/>
          </p:nvSpPr>
          <p:spPr bwMode="auto">
            <a:xfrm>
              <a:off x="5142949" y="2588936"/>
              <a:ext cx="109660" cy="112044"/>
            </a:xfrm>
            <a:custGeom>
              <a:avLst/>
              <a:gdLst>
                <a:gd name="T0" fmla="*/ 34 w 46"/>
                <a:gd name="T1" fmla="*/ 36 h 47"/>
                <a:gd name="T2" fmla="*/ 12 w 46"/>
                <a:gd name="T3" fmla="*/ 36 h 47"/>
                <a:gd name="T4" fmla="*/ 8 w 46"/>
                <a:gd name="T5" fmla="*/ 47 h 47"/>
                <a:gd name="T6" fmla="*/ 0 w 46"/>
                <a:gd name="T7" fmla="*/ 47 h 47"/>
                <a:gd name="T8" fmla="*/ 20 w 46"/>
                <a:gd name="T9" fmla="*/ 0 h 47"/>
                <a:gd name="T10" fmla="*/ 26 w 46"/>
                <a:gd name="T11" fmla="*/ 0 h 47"/>
                <a:gd name="T12" fmla="*/ 46 w 46"/>
                <a:gd name="T13" fmla="*/ 47 h 47"/>
                <a:gd name="T14" fmla="*/ 38 w 46"/>
                <a:gd name="T15" fmla="*/ 47 h 47"/>
                <a:gd name="T16" fmla="*/ 34 w 46"/>
                <a:gd name="T17" fmla="*/ 36 h 47"/>
                <a:gd name="T18" fmla="*/ 31 w 46"/>
                <a:gd name="T19" fmla="*/ 30 h 47"/>
                <a:gd name="T20" fmla="*/ 25 w 46"/>
                <a:gd name="T21" fmla="*/ 15 h 47"/>
                <a:gd name="T22" fmla="*/ 23 w 46"/>
                <a:gd name="T23" fmla="*/ 9 h 47"/>
                <a:gd name="T24" fmla="*/ 23 w 46"/>
                <a:gd name="T25" fmla="*/ 9 h 47"/>
                <a:gd name="T26" fmla="*/ 21 w 46"/>
                <a:gd name="T27" fmla="*/ 15 h 47"/>
                <a:gd name="T28" fmla="*/ 15 w 46"/>
                <a:gd name="T29" fmla="*/ 30 h 47"/>
                <a:gd name="T30" fmla="*/ 31 w 46"/>
                <a:gd name="T31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" h="47">
                  <a:moveTo>
                    <a:pt x="34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38" y="47"/>
                    <a:pt x="38" y="47"/>
                    <a:pt x="38" y="47"/>
                  </a:cubicBezTo>
                  <a:lnTo>
                    <a:pt x="34" y="36"/>
                  </a:lnTo>
                  <a:close/>
                  <a:moveTo>
                    <a:pt x="31" y="30"/>
                  </a:moveTo>
                  <a:cubicBezTo>
                    <a:pt x="25" y="15"/>
                    <a:pt x="25" y="15"/>
                    <a:pt x="25" y="15"/>
                  </a:cubicBezTo>
                  <a:cubicBezTo>
                    <a:pt x="24" y="13"/>
                    <a:pt x="23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2" y="13"/>
                    <a:pt x="21" y="15"/>
                  </a:cubicBezTo>
                  <a:cubicBezTo>
                    <a:pt x="15" y="30"/>
                    <a:pt x="15" y="30"/>
                    <a:pt x="15" y="30"/>
                  </a:cubicBezTo>
                  <a:lnTo>
                    <a:pt x="31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5262145" y="2586552"/>
              <a:ext cx="109660" cy="116812"/>
            </a:xfrm>
            <a:custGeom>
              <a:avLst/>
              <a:gdLst>
                <a:gd name="T0" fmla="*/ 37 w 46"/>
                <a:gd name="T1" fmla="*/ 14 h 49"/>
                <a:gd name="T2" fmla="*/ 24 w 46"/>
                <a:gd name="T3" fmla="*/ 7 h 49"/>
                <a:gd name="T4" fmla="*/ 7 w 46"/>
                <a:gd name="T5" fmla="*/ 24 h 49"/>
                <a:gd name="T6" fmla="*/ 24 w 46"/>
                <a:gd name="T7" fmla="*/ 41 h 49"/>
                <a:gd name="T8" fmla="*/ 38 w 46"/>
                <a:gd name="T9" fmla="*/ 33 h 49"/>
                <a:gd name="T10" fmla="*/ 46 w 46"/>
                <a:gd name="T11" fmla="*/ 35 h 49"/>
                <a:gd name="T12" fmla="*/ 24 w 46"/>
                <a:gd name="T13" fmla="*/ 49 h 49"/>
                <a:gd name="T14" fmla="*/ 0 w 46"/>
                <a:gd name="T15" fmla="*/ 24 h 49"/>
                <a:gd name="T16" fmla="*/ 24 w 46"/>
                <a:gd name="T17" fmla="*/ 0 h 49"/>
                <a:gd name="T18" fmla="*/ 45 w 46"/>
                <a:gd name="T19" fmla="*/ 12 h 49"/>
                <a:gd name="T20" fmla="*/ 37 w 46"/>
                <a:gd name="T21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9">
                  <a:moveTo>
                    <a:pt x="37" y="14"/>
                  </a:moveTo>
                  <a:cubicBezTo>
                    <a:pt x="35" y="10"/>
                    <a:pt x="29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  <a:cubicBezTo>
                    <a:pt x="30" y="41"/>
                    <a:pt x="36" y="38"/>
                    <a:pt x="38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3" y="49"/>
                    <a:pt x="24" y="49"/>
                  </a:cubicBezTo>
                  <a:cubicBezTo>
                    <a:pt x="10" y="49"/>
                    <a:pt x="0" y="39"/>
                    <a:pt x="0" y="24"/>
                  </a:cubicBezTo>
                  <a:cubicBezTo>
                    <a:pt x="0" y="10"/>
                    <a:pt x="10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7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5383725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14 h 94"/>
                <a:gd name="T4" fmla="*/ 46 w 76"/>
                <a:gd name="T5" fmla="*/ 14 h 94"/>
                <a:gd name="T6" fmla="*/ 46 w 76"/>
                <a:gd name="T7" fmla="*/ 94 h 94"/>
                <a:gd name="T8" fmla="*/ 30 w 76"/>
                <a:gd name="T9" fmla="*/ 94 h 94"/>
                <a:gd name="T10" fmla="*/ 30 w 76"/>
                <a:gd name="T11" fmla="*/ 14 h 94"/>
                <a:gd name="T12" fmla="*/ 0 w 76"/>
                <a:gd name="T13" fmla="*/ 14 h 94"/>
                <a:gd name="T14" fmla="*/ 0 w 76"/>
                <a:gd name="T15" fmla="*/ 0 h 94"/>
                <a:gd name="T16" fmla="*/ 76 w 76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4444461" y="2100233"/>
              <a:ext cx="45294" cy="66750"/>
            </a:xfrm>
            <a:custGeom>
              <a:avLst/>
              <a:gdLst>
                <a:gd name="T0" fmla="*/ 17 w 19"/>
                <a:gd name="T1" fmla="*/ 13 h 28"/>
                <a:gd name="T2" fmla="*/ 5 w 19"/>
                <a:gd name="T3" fmla="*/ 9 h 28"/>
                <a:gd name="T4" fmla="*/ 8 w 19"/>
                <a:gd name="T5" fmla="*/ 25 h 28"/>
                <a:gd name="T6" fmla="*/ 13 w 19"/>
                <a:gd name="T7" fmla="*/ 26 h 28"/>
                <a:gd name="T8" fmla="*/ 14 w 19"/>
                <a:gd name="T9" fmla="*/ 21 h 28"/>
                <a:gd name="T10" fmla="*/ 17 w 19"/>
                <a:gd name="T11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17" y="13"/>
                  </a:moveTo>
                  <a:cubicBezTo>
                    <a:pt x="17" y="13"/>
                    <a:pt x="12" y="0"/>
                    <a:pt x="5" y="9"/>
                  </a:cubicBezTo>
                  <a:cubicBezTo>
                    <a:pt x="5" y="9"/>
                    <a:pt x="0" y="13"/>
                    <a:pt x="8" y="25"/>
                  </a:cubicBezTo>
                  <a:cubicBezTo>
                    <a:pt x="8" y="25"/>
                    <a:pt x="10" y="28"/>
                    <a:pt x="13" y="26"/>
                  </a:cubicBezTo>
                  <a:cubicBezTo>
                    <a:pt x="13" y="26"/>
                    <a:pt x="16" y="26"/>
                    <a:pt x="14" y="21"/>
                  </a:cubicBezTo>
                  <a:cubicBezTo>
                    <a:pt x="14" y="21"/>
                    <a:pt x="19" y="21"/>
                    <a:pt x="17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91" name="Freeform 69"/>
            <p:cNvSpPr>
              <a:spLocks/>
            </p:cNvSpPr>
            <p:nvPr/>
          </p:nvSpPr>
          <p:spPr bwMode="auto">
            <a:xfrm>
              <a:off x="5884348" y="2088313"/>
              <a:ext cx="45294" cy="64366"/>
            </a:xfrm>
            <a:custGeom>
              <a:avLst/>
              <a:gdLst>
                <a:gd name="T0" fmla="*/ 16 w 19"/>
                <a:gd name="T1" fmla="*/ 12 h 27"/>
                <a:gd name="T2" fmla="*/ 4 w 19"/>
                <a:gd name="T3" fmla="*/ 8 h 27"/>
                <a:gd name="T4" fmla="*/ 8 w 19"/>
                <a:gd name="T5" fmla="*/ 24 h 27"/>
                <a:gd name="T6" fmla="*/ 12 w 19"/>
                <a:gd name="T7" fmla="*/ 26 h 27"/>
                <a:gd name="T8" fmla="*/ 14 w 19"/>
                <a:gd name="T9" fmla="*/ 21 h 27"/>
                <a:gd name="T10" fmla="*/ 16 w 19"/>
                <a:gd name="T11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7">
                  <a:moveTo>
                    <a:pt x="16" y="12"/>
                  </a:moveTo>
                  <a:cubicBezTo>
                    <a:pt x="16" y="12"/>
                    <a:pt x="12" y="0"/>
                    <a:pt x="4" y="8"/>
                  </a:cubicBezTo>
                  <a:cubicBezTo>
                    <a:pt x="4" y="8"/>
                    <a:pt x="0" y="12"/>
                    <a:pt x="8" y="24"/>
                  </a:cubicBezTo>
                  <a:cubicBezTo>
                    <a:pt x="8" y="24"/>
                    <a:pt x="10" y="27"/>
                    <a:pt x="12" y="26"/>
                  </a:cubicBezTo>
                  <a:cubicBezTo>
                    <a:pt x="12" y="26"/>
                    <a:pt x="16" y="25"/>
                    <a:pt x="14" y="21"/>
                  </a:cubicBezTo>
                  <a:cubicBezTo>
                    <a:pt x="14" y="21"/>
                    <a:pt x="19" y="20"/>
                    <a:pt x="16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92" name="Freeform 70"/>
            <p:cNvSpPr>
              <a:spLocks noEditPoints="1"/>
            </p:cNvSpPr>
            <p:nvPr/>
          </p:nvSpPr>
          <p:spPr bwMode="auto">
            <a:xfrm>
              <a:off x="2697049" y="2076393"/>
              <a:ext cx="1022701" cy="488703"/>
            </a:xfrm>
            <a:custGeom>
              <a:avLst/>
              <a:gdLst>
                <a:gd name="T0" fmla="*/ 406 w 429"/>
                <a:gd name="T1" fmla="*/ 144 h 205"/>
                <a:gd name="T2" fmla="*/ 377 w 429"/>
                <a:gd name="T3" fmla="*/ 95 h 205"/>
                <a:gd name="T4" fmla="*/ 429 w 429"/>
                <a:gd name="T5" fmla="*/ 20 h 205"/>
                <a:gd name="T6" fmla="*/ 397 w 429"/>
                <a:gd name="T7" fmla="*/ 31 h 205"/>
                <a:gd name="T8" fmla="*/ 368 w 429"/>
                <a:gd name="T9" fmla="*/ 93 h 205"/>
                <a:gd name="T10" fmla="*/ 275 w 429"/>
                <a:gd name="T11" fmla="*/ 150 h 205"/>
                <a:gd name="T12" fmla="*/ 235 w 429"/>
                <a:gd name="T13" fmla="*/ 134 h 205"/>
                <a:gd name="T14" fmla="*/ 253 w 429"/>
                <a:gd name="T15" fmla="*/ 122 h 205"/>
                <a:gd name="T16" fmla="*/ 259 w 429"/>
                <a:gd name="T17" fmla="*/ 105 h 205"/>
                <a:gd name="T18" fmla="*/ 228 w 429"/>
                <a:gd name="T19" fmla="*/ 123 h 205"/>
                <a:gd name="T20" fmla="*/ 228 w 429"/>
                <a:gd name="T21" fmla="*/ 130 h 205"/>
                <a:gd name="T22" fmla="*/ 183 w 429"/>
                <a:gd name="T23" fmla="*/ 143 h 205"/>
                <a:gd name="T24" fmla="*/ 79 w 429"/>
                <a:gd name="T25" fmla="*/ 102 h 205"/>
                <a:gd name="T26" fmla="*/ 132 w 429"/>
                <a:gd name="T27" fmla="*/ 47 h 205"/>
                <a:gd name="T28" fmla="*/ 121 w 429"/>
                <a:gd name="T29" fmla="*/ 29 h 205"/>
                <a:gd name="T30" fmla="*/ 17 w 429"/>
                <a:gd name="T31" fmla="*/ 143 h 205"/>
                <a:gd name="T32" fmla="*/ 23 w 429"/>
                <a:gd name="T33" fmla="*/ 198 h 205"/>
                <a:gd name="T34" fmla="*/ 64 w 429"/>
                <a:gd name="T35" fmla="*/ 117 h 205"/>
                <a:gd name="T36" fmla="*/ 69 w 429"/>
                <a:gd name="T37" fmla="*/ 108 h 205"/>
                <a:gd name="T38" fmla="*/ 99 w 429"/>
                <a:gd name="T39" fmla="*/ 130 h 205"/>
                <a:gd name="T40" fmla="*/ 227 w 429"/>
                <a:gd name="T41" fmla="*/ 138 h 205"/>
                <a:gd name="T42" fmla="*/ 307 w 429"/>
                <a:gd name="T43" fmla="*/ 145 h 205"/>
                <a:gd name="T44" fmla="*/ 368 w 429"/>
                <a:gd name="T45" fmla="*/ 102 h 205"/>
                <a:gd name="T46" fmla="*/ 379 w 429"/>
                <a:gd name="T47" fmla="*/ 136 h 205"/>
                <a:gd name="T48" fmla="*/ 404 w 429"/>
                <a:gd name="T49" fmla="*/ 150 h 205"/>
                <a:gd name="T50" fmla="*/ 406 w 429"/>
                <a:gd name="T51" fmla="*/ 144 h 205"/>
                <a:gd name="T52" fmla="*/ 380 w 429"/>
                <a:gd name="T53" fmla="*/ 76 h 205"/>
                <a:gd name="T54" fmla="*/ 417 w 429"/>
                <a:gd name="T55" fmla="*/ 23 h 205"/>
                <a:gd name="T56" fmla="*/ 410 w 429"/>
                <a:gd name="T57" fmla="*/ 47 h 205"/>
                <a:gd name="T58" fmla="*/ 378 w 429"/>
                <a:gd name="T59" fmla="*/ 84 h 205"/>
                <a:gd name="T60" fmla="*/ 380 w 429"/>
                <a:gd name="T61" fmla="*/ 76 h 205"/>
                <a:gd name="T62" fmla="*/ 237 w 429"/>
                <a:gd name="T63" fmla="*/ 123 h 205"/>
                <a:gd name="T64" fmla="*/ 253 w 429"/>
                <a:gd name="T65" fmla="*/ 111 h 205"/>
                <a:gd name="T66" fmla="*/ 236 w 429"/>
                <a:gd name="T67" fmla="*/ 125 h 205"/>
                <a:gd name="T68" fmla="*/ 237 w 429"/>
                <a:gd name="T69" fmla="*/ 123 h 205"/>
                <a:gd name="T70" fmla="*/ 69 w 429"/>
                <a:gd name="T71" fmla="*/ 95 h 205"/>
                <a:gd name="T72" fmla="*/ 60 w 429"/>
                <a:gd name="T73" fmla="*/ 88 h 205"/>
                <a:gd name="T74" fmla="*/ 58 w 429"/>
                <a:gd name="T75" fmla="*/ 97 h 205"/>
                <a:gd name="T76" fmla="*/ 57 w 429"/>
                <a:gd name="T77" fmla="*/ 112 h 205"/>
                <a:gd name="T78" fmla="*/ 57 w 429"/>
                <a:gd name="T79" fmla="*/ 112 h 205"/>
                <a:gd name="T80" fmla="*/ 31 w 429"/>
                <a:gd name="T81" fmla="*/ 181 h 205"/>
                <a:gd name="T82" fmla="*/ 22 w 429"/>
                <a:gd name="T83" fmla="*/ 187 h 205"/>
                <a:gd name="T84" fmla="*/ 25 w 429"/>
                <a:gd name="T85" fmla="*/ 149 h 205"/>
                <a:gd name="T86" fmla="*/ 110 w 429"/>
                <a:gd name="T87" fmla="*/ 40 h 205"/>
                <a:gd name="T88" fmla="*/ 122 w 429"/>
                <a:gd name="T89" fmla="*/ 49 h 205"/>
                <a:gd name="T90" fmla="*/ 69 w 429"/>
                <a:gd name="T91" fmla="*/ 9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29" h="205">
                  <a:moveTo>
                    <a:pt x="406" y="144"/>
                  </a:moveTo>
                  <a:cubicBezTo>
                    <a:pt x="379" y="136"/>
                    <a:pt x="375" y="112"/>
                    <a:pt x="377" y="95"/>
                  </a:cubicBezTo>
                  <a:cubicBezTo>
                    <a:pt x="424" y="52"/>
                    <a:pt x="429" y="20"/>
                    <a:pt x="429" y="20"/>
                  </a:cubicBezTo>
                  <a:cubicBezTo>
                    <a:pt x="426" y="0"/>
                    <a:pt x="397" y="31"/>
                    <a:pt x="397" y="31"/>
                  </a:cubicBezTo>
                  <a:cubicBezTo>
                    <a:pt x="377" y="56"/>
                    <a:pt x="370" y="77"/>
                    <a:pt x="368" y="93"/>
                  </a:cubicBezTo>
                  <a:cubicBezTo>
                    <a:pt x="318" y="141"/>
                    <a:pt x="275" y="150"/>
                    <a:pt x="275" y="150"/>
                  </a:cubicBezTo>
                  <a:cubicBezTo>
                    <a:pt x="253" y="157"/>
                    <a:pt x="237" y="147"/>
                    <a:pt x="235" y="134"/>
                  </a:cubicBezTo>
                  <a:cubicBezTo>
                    <a:pt x="247" y="128"/>
                    <a:pt x="253" y="122"/>
                    <a:pt x="253" y="122"/>
                  </a:cubicBezTo>
                  <a:cubicBezTo>
                    <a:pt x="267" y="112"/>
                    <a:pt x="259" y="105"/>
                    <a:pt x="259" y="105"/>
                  </a:cubicBezTo>
                  <a:cubicBezTo>
                    <a:pt x="240" y="87"/>
                    <a:pt x="228" y="123"/>
                    <a:pt x="228" y="123"/>
                  </a:cubicBezTo>
                  <a:cubicBezTo>
                    <a:pt x="228" y="126"/>
                    <a:pt x="228" y="128"/>
                    <a:pt x="228" y="130"/>
                  </a:cubicBezTo>
                  <a:cubicBezTo>
                    <a:pt x="204" y="142"/>
                    <a:pt x="183" y="143"/>
                    <a:pt x="183" y="143"/>
                  </a:cubicBezTo>
                  <a:cubicBezTo>
                    <a:pt x="113" y="141"/>
                    <a:pt x="79" y="102"/>
                    <a:pt x="79" y="102"/>
                  </a:cubicBezTo>
                  <a:cubicBezTo>
                    <a:pt x="117" y="82"/>
                    <a:pt x="132" y="47"/>
                    <a:pt x="132" y="47"/>
                  </a:cubicBezTo>
                  <a:cubicBezTo>
                    <a:pt x="138" y="28"/>
                    <a:pt x="121" y="29"/>
                    <a:pt x="121" y="29"/>
                  </a:cubicBezTo>
                  <a:cubicBezTo>
                    <a:pt x="59" y="36"/>
                    <a:pt x="17" y="143"/>
                    <a:pt x="17" y="143"/>
                  </a:cubicBezTo>
                  <a:cubicBezTo>
                    <a:pt x="0" y="191"/>
                    <a:pt x="23" y="198"/>
                    <a:pt x="23" y="198"/>
                  </a:cubicBezTo>
                  <a:cubicBezTo>
                    <a:pt x="42" y="205"/>
                    <a:pt x="64" y="117"/>
                    <a:pt x="64" y="117"/>
                  </a:cubicBezTo>
                  <a:cubicBezTo>
                    <a:pt x="65" y="105"/>
                    <a:pt x="69" y="108"/>
                    <a:pt x="69" y="108"/>
                  </a:cubicBezTo>
                  <a:cubicBezTo>
                    <a:pt x="71" y="113"/>
                    <a:pt x="99" y="130"/>
                    <a:pt x="99" y="130"/>
                  </a:cubicBezTo>
                  <a:cubicBezTo>
                    <a:pt x="157" y="160"/>
                    <a:pt x="202" y="150"/>
                    <a:pt x="227" y="138"/>
                  </a:cubicBezTo>
                  <a:cubicBezTo>
                    <a:pt x="231" y="184"/>
                    <a:pt x="307" y="145"/>
                    <a:pt x="307" y="145"/>
                  </a:cubicBezTo>
                  <a:cubicBezTo>
                    <a:pt x="332" y="130"/>
                    <a:pt x="352" y="116"/>
                    <a:pt x="368" y="102"/>
                  </a:cubicBezTo>
                  <a:cubicBezTo>
                    <a:pt x="369" y="123"/>
                    <a:pt x="379" y="136"/>
                    <a:pt x="379" y="136"/>
                  </a:cubicBezTo>
                  <a:cubicBezTo>
                    <a:pt x="396" y="154"/>
                    <a:pt x="404" y="150"/>
                    <a:pt x="404" y="150"/>
                  </a:cubicBezTo>
                  <a:cubicBezTo>
                    <a:pt x="410" y="146"/>
                    <a:pt x="406" y="144"/>
                    <a:pt x="406" y="144"/>
                  </a:cubicBezTo>
                  <a:moveTo>
                    <a:pt x="380" y="76"/>
                  </a:moveTo>
                  <a:cubicBezTo>
                    <a:pt x="402" y="28"/>
                    <a:pt x="417" y="23"/>
                    <a:pt x="417" y="23"/>
                  </a:cubicBezTo>
                  <a:cubicBezTo>
                    <a:pt x="428" y="19"/>
                    <a:pt x="410" y="47"/>
                    <a:pt x="410" y="47"/>
                  </a:cubicBezTo>
                  <a:cubicBezTo>
                    <a:pt x="399" y="61"/>
                    <a:pt x="389" y="73"/>
                    <a:pt x="378" y="84"/>
                  </a:cubicBezTo>
                  <a:cubicBezTo>
                    <a:pt x="379" y="79"/>
                    <a:pt x="380" y="76"/>
                    <a:pt x="380" y="76"/>
                  </a:cubicBezTo>
                  <a:moveTo>
                    <a:pt x="237" y="123"/>
                  </a:moveTo>
                  <a:cubicBezTo>
                    <a:pt x="246" y="106"/>
                    <a:pt x="253" y="111"/>
                    <a:pt x="253" y="111"/>
                  </a:cubicBezTo>
                  <a:cubicBezTo>
                    <a:pt x="248" y="116"/>
                    <a:pt x="242" y="121"/>
                    <a:pt x="236" y="125"/>
                  </a:cubicBezTo>
                  <a:cubicBezTo>
                    <a:pt x="237" y="124"/>
                    <a:pt x="237" y="123"/>
                    <a:pt x="237" y="123"/>
                  </a:cubicBezTo>
                  <a:moveTo>
                    <a:pt x="69" y="95"/>
                  </a:moveTo>
                  <a:cubicBezTo>
                    <a:pt x="69" y="95"/>
                    <a:pt x="72" y="79"/>
                    <a:pt x="60" y="88"/>
                  </a:cubicBezTo>
                  <a:cubicBezTo>
                    <a:pt x="60" y="88"/>
                    <a:pt x="54" y="91"/>
                    <a:pt x="58" y="97"/>
                  </a:cubicBezTo>
                  <a:cubicBezTo>
                    <a:pt x="58" y="97"/>
                    <a:pt x="48" y="97"/>
                    <a:pt x="57" y="112"/>
                  </a:cubicBezTo>
                  <a:cubicBezTo>
                    <a:pt x="57" y="112"/>
                    <a:pt x="57" y="112"/>
                    <a:pt x="57" y="112"/>
                  </a:cubicBezTo>
                  <a:cubicBezTo>
                    <a:pt x="57" y="112"/>
                    <a:pt x="45" y="156"/>
                    <a:pt x="31" y="181"/>
                  </a:cubicBezTo>
                  <a:cubicBezTo>
                    <a:pt x="31" y="181"/>
                    <a:pt x="25" y="194"/>
                    <a:pt x="22" y="187"/>
                  </a:cubicBezTo>
                  <a:cubicBezTo>
                    <a:pt x="22" y="187"/>
                    <a:pt x="17" y="177"/>
                    <a:pt x="25" y="149"/>
                  </a:cubicBezTo>
                  <a:cubicBezTo>
                    <a:pt x="25" y="149"/>
                    <a:pt x="51" y="59"/>
                    <a:pt x="110" y="40"/>
                  </a:cubicBezTo>
                  <a:cubicBezTo>
                    <a:pt x="110" y="40"/>
                    <a:pt x="133" y="31"/>
                    <a:pt x="122" y="49"/>
                  </a:cubicBezTo>
                  <a:cubicBezTo>
                    <a:pt x="122" y="49"/>
                    <a:pt x="95" y="93"/>
                    <a:pt x="69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93" name="Freeform 71"/>
            <p:cNvSpPr>
              <a:spLocks noEditPoints="1"/>
            </p:cNvSpPr>
            <p:nvPr/>
          </p:nvSpPr>
          <p:spPr bwMode="auto">
            <a:xfrm>
              <a:off x="3686375" y="2112152"/>
              <a:ext cx="1399360" cy="407650"/>
            </a:xfrm>
            <a:custGeom>
              <a:avLst/>
              <a:gdLst>
                <a:gd name="T0" fmla="*/ 518 w 587"/>
                <a:gd name="T1" fmla="*/ 69 h 171"/>
                <a:gd name="T2" fmla="*/ 511 w 587"/>
                <a:gd name="T3" fmla="*/ 62 h 171"/>
                <a:gd name="T4" fmla="*/ 432 w 587"/>
                <a:gd name="T5" fmla="*/ 47 h 171"/>
                <a:gd name="T6" fmla="*/ 407 w 587"/>
                <a:gd name="T7" fmla="*/ 45 h 171"/>
                <a:gd name="T8" fmla="*/ 395 w 587"/>
                <a:gd name="T9" fmla="*/ 52 h 171"/>
                <a:gd name="T10" fmla="*/ 407 w 587"/>
                <a:gd name="T11" fmla="*/ 57 h 171"/>
                <a:gd name="T12" fmla="*/ 441 w 587"/>
                <a:gd name="T13" fmla="*/ 71 h 171"/>
                <a:gd name="T14" fmla="*/ 407 w 587"/>
                <a:gd name="T15" fmla="*/ 89 h 171"/>
                <a:gd name="T16" fmla="*/ 380 w 587"/>
                <a:gd name="T17" fmla="*/ 79 h 171"/>
                <a:gd name="T18" fmla="*/ 381 w 587"/>
                <a:gd name="T19" fmla="*/ 69 h 171"/>
                <a:gd name="T20" fmla="*/ 377 w 587"/>
                <a:gd name="T21" fmla="*/ 63 h 171"/>
                <a:gd name="T22" fmla="*/ 370 w 587"/>
                <a:gd name="T23" fmla="*/ 67 h 171"/>
                <a:gd name="T24" fmla="*/ 297 w 587"/>
                <a:gd name="T25" fmla="*/ 89 h 171"/>
                <a:gd name="T26" fmla="*/ 289 w 587"/>
                <a:gd name="T27" fmla="*/ 61 h 171"/>
                <a:gd name="T28" fmla="*/ 290 w 587"/>
                <a:gd name="T29" fmla="*/ 46 h 171"/>
                <a:gd name="T30" fmla="*/ 285 w 587"/>
                <a:gd name="T31" fmla="*/ 53 h 171"/>
                <a:gd name="T32" fmla="*/ 201 w 587"/>
                <a:gd name="T33" fmla="*/ 107 h 171"/>
                <a:gd name="T34" fmla="*/ 199 w 587"/>
                <a:gd name="T35" fmla="*/ 66 h 171"/>
                <a:gd name="T36" fmla="*/ 232 w 587"/>
                <a:gd name="T37" fmla="*/ 31 h 171"/>
                <a:gd name="T38" fmla="*/ 279 w 587"/>
                <a:gd name="T39" fmla="*/ 6 h 171"/>
                <a:gd name="T40" fmla="*/ 281 w 587"/>
                <a:gd name="T41" fmla="*/ 2 h 171"/>
                <a:gd name="T42" fmla="*/ 281 w 587"/>
                <a:gd name="T43" fmla="*/ 2 h 171"/>
                <a:gd name="T44" fmla="*/ 272 w 587"/>
                <a:gd name="T45" fmla="*/ 2 h 171"/>
                <a:gd name="T46" fmla="*/ 233 w 587"/>
                <a:gd name="T47" fmla="*/ 21 h 171"/>
                <a:gd name="T48" fmla="*/ 227 w 587"/>
                <a:gd name="T49" fmla="*/ 9 h 171"/>
                <a:gd name="T50" fmla="*/ 195 w 587"/>
                <a:gd name="T51" fmla="*/ 55 h 171"/>
                <a:gd name="T52" fmla="*/ 100 w 587"/>
                <a:gd name="T53" fmla="*/ 116 h 171"/>
                <a:gd name="T54" fmla="*/ 88 w 587"/>
                <a:gd name="T55" fmla="*/ 83 h 171"/>
                <a:gd name="T56" fmla="*/ 83 w 587"/>
                <a:gd name="T57" fmla="*/ 79 h 171"/>
                <a:gd name="T58" fmla="*/ 73 w 587"/>
                <a:gd name="T59" fmla="*/ 86 h 171"/>
                <a:gd name="T60" fmla="*/ 58 w 587"/>
                <a:gd name="T61" fmla="*/ 101 h 171"/>
                <a:gd name="T62" fmla="*/ 62 w 587"/>
                <a:gd name="T63" fmla="*/ 65 h 171"/>
                <a:gd name="T64" fmla="*/ 17 w 587"/>
                <a:gd name="T65" fmla="*/ 87 h 171"/>
                <a:gd name="T66" fmla="*/ 14 w 587"/>
                <a:gd name="T67" fmla="*/ 123 h 171"/>
                <a:gd name="T68" fmla="*/ 79 w 587"/>
                <a:gd name="T69" fmla="*/ 91 h 171"/>
                <a:gd name="T70" fmla="*/ 81 w 587"/>
                <a:gd name="T71" fmla="*/ 90 h 171"/>
                <a:gd name="T72" fmla="*/ 119 w 587"/>
                <a:gd name="T73" fmla="*/ 122 h 171"/>
                <a:gd name="T74" fmla="*/ 184 w 587"/>
                <a:gd name="T75" fmla="*/ 77 h 171"/>
                <a:gd name="T76" fmla="*/ 277 w 587"/>
                <a:gd name="T77" fmla="*/ 72 h 171"/>
                <a:gd name="T78" fmla="*/ 332 w 587"/>
                <a:gd name="T79" fmla="*/ 97 h 171"/>
                <a:gd name="T80" fmla="*/ 371 w 587"/>
                <a:gd name="T81" fmla="*/ 78 h 171"/>
                <a:gd name="T82" fmla="*/ 412 w 587"/>
                <a:gd name="T83" fmla="*/ 99 h 171"/>
                <a:gd name="T84" fmla="*/ 446 w 587"/>
                <a:gd name="T85" fmla="*/ 80 h 171"/>
                <a:gd name="T86" fmla="*/ 437 w 587"/>
                <a:gd name="T87" fmla="*/ 56 h 171"/>
                <a:gd name="T88" fmla="*/ 506 w 587"/>
                <a:gd name="T89" fmla="*/ 77 h 171"/>
                <a:gd name="T90" fmla="*/ 502 w 587"/>
                <a:gd name="T91" fmla="*/ 98 h 171"/>
                <a:gd name="T92" fmla="*/ 519 w 587"/>
                <a:gd name="T93" fmla="*/ 77 h 171"/>
                <a:gd name="T94" fmla="*/ 564 w 587"/>
                <a:gd name="T95" fmla="*/ 59 h 171"/>
                <a:gd name="T96" fmla="*/ 560 w 587"/>
                <a:gd name="T97" fmla="*/ 84 h 171"/>
                <a:gd name="T98" fmla="*/ 556 w 587"/>
                <a:gd name="T99" fmla="*/ 98 h 171"/>
                <a:gd name="T100" fmla="*/ 573 w 587"/>
                <a:gd name="T101" fmla="*/ 51 h 171"/>
                <a:gd name="T102" fmla="*/ 518 w 587"/>
                <a:gd name="T103" fmla="*/ 69 h 171"/>
                <a:gd name="T104" fmla="*/ 20 w 587"/>
                <a:gd name="T105" fmla="*/ 105 h 171"/>
                <a:gd name="T106" fmla="*/ 45 w 587"/>
                <a:gd name="T107" fmla="*/ 73 h 171"/>
                <a:gd name="T108" fmla="*/ 49 w 587"/>
                <a:gd name="T109" fmla="*/ 105 h 171"/>
                <a:gd name="T110" fmla="*/ 20 w 587"/>
                <a:gd name="T111" fmla="*/ 105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7" h="171">
                  <a:moveTo>
                    <a:pt x="518" y="69"/>
                  </a:moveTo>
                  <a:cubicBezTo>
                    <a:pt x="518" y="69"/>
                    <a:pt x="516" y="71"/>
                    <a:pt x="511" y="62"/>
                  </a:cubicBezTo>
                  <a:cubicBezTo>
                    <a:pt x="511" y="62"/>
                    <a:pt x="500" y="42"/>
                    <a:pt x="432" y="47"/>
                  </a:cubicBezTo>
                  <a:cubicBezTo>
                    <a:pt x="432" y="47"/>
                    <a:pt x="418" y="47"/>
                    <a:pt x="407" y="45"/>
                  </a:cubicBezTo>
                  <a:cubicBezTo>
                    <a:pt x="407" y="45"/>
                    <a:pt x="396" y="43"/>
                    <a:pt x="395" y="52"/>
                  </a:cubicBezTo>
                  <a:cubicBezTo>
                    <a:pt x="395" y="52"/>
                    <a:pt x="394" y="57"/>
                    <a:pt x="407" y="57"/>
                  </a:cubicBezTo>
                  <a:cubicBezTo>
                    <a:pt x="407" y="57"/>
                    <a:pt x="440" y="52"/>
                    <a:pt x="441" y="71"/>
                  </a:cubicBezTo>
                  <a:cubicBezTo>
                    <a:pt x="441" y="71"/>
                    <a:pt x="441" y="87"/>
                    <a:pt x="407" y="89"/>
                  </a:cubicBezTo>
                  <a:cubicBezTo>
                    <a:pt x="407" y="89"/>
                    <a:pt x="385" y="90"/>
                    <a:pt x="380" y="79"/>
                  </a:cubicBezTo>
                  <a:cubicBezTo>
                    <a:pt x="380" y="79"/>
                    <a:pt x="379" y="77"/>
                    <a:pt x="381" y="69"/>
                  </a:cubicBezTo>
                  <a:cubicBezTo>
                    <a:pt x="381" y="69"/>
                    <a:pt x="383" y="63"/>
                    <a:pt x="377" y="63"/>
                  </a:cubicBezTo>
                  <a:cubicBezTo>
                    <a:pt x="377" y="63"/>
                    <a:pt x="373" y="60"/>
                    <a:pt x="370" y="67"/>
                  </a:cubicBezTo>
                  <a:cubicBezTo>
                    <a:pt x="370" y="67"/>
                    <a:pt x="330" y="99"/>
                    <a:pt x="297" y="89"/>
                  </a:cubicBezTo>
                  <a:cubicBezTo>
                    <a:pt x="297" y="89"/>
                    <a:pt x="281" y="84"/>
                    <a:pt x="289" y="61"/>
                  </a:cubicBezTo>
                  <a:cubicBezTo>
                    <a:pt x="289" y="61"/>
                    <a:pt x="298" y="46"/>
                    <a:pt x="290" y="46"/>
                  </a:cubicBezTo>
                  <a:cubicBezTo>
                    <a:pt x="290" y="46"/>
                    <a:pt x="286" y="45"/>
                    <a:pt x="285" y="53"/>
                  </a:cubicBezTo>
                  <a:cubicBezTo>
                    <a:pt x="285" y="53"/>
                    <a:pt x="243" y="106"/>
                    <a:pt x="201" y="107"/>
                  </a:cubicBezTo>
                  <a:cubicBezTo>
                    <a:pt x="201" y="107"/>
                    <a:pt x="177" y="110"/>
                    <a:pt x="199" y="66"/>
                  </a:cubicBezTo>
                  <a:cubicBezTo>
                    <a:pt x="199" y="66"/>
                    <a:pt x="212" y="43"/>
                    <a:pt x="232" y="31"/>
                  </a:cubicBezTo>
                  <a:cubicBezTo>
                    <a:pt x="232" y="31"/>
                    <a:pt x="278" y="7"/>
                    <a:pt x="279" y="6"/>
                  </a:cubicBezTo>
                  <a:cubicBezTo>
                    <a:pt x="280" y="5"/>
                    <a:pt x="283" y="4"/>
                    <a:pt x="281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2"/>
                    <a:pt x="277" y="0"/>
                    <a:pt x="272" y="2"/>
                  </a:cubicBezTo>
                  <a:cubicBezTo>
                    <a:pt x="233" y="21"/>
                    <a:pt x="233" y="21"/>
                    <a:pt x="233" y="21"/>
                  </a:cubicBezTo>
                  <a:cubicBezTo>
                    <a:pt x="233" y="21"/>
                    <a:pt x="238" y="4"/>
                    <a:pt x="227" y="9"/>
                  </a:cubicBezTo>
                  <a:cubicBezTo>
                    <a:pt x="227" y="9"/>
                    <a:pt x="212" y="22"/>
                    <a:pt x="195" y="55"/>
                  </a:cubicBezTo>
                  <a:cubicBezTo>
                    <a:pt x="195" y="55"/>
                    <a:pt x="131" y="120"/>
                    <a:pt x="100" y="116"/>
                  </a:cubicBezTo>
                  <a:cubicBezTo>
                    <a:pt x="100" y="116"/>
                    <a:pt x="80" y="117"/>
                    <a:pt x="88" y="83"/>
                  </a:cubicBezTo>
                  <a:cubicBezTo>
                    <a:pt x="88" y="83"/>
                    <a:pt x="89" y="80"/>
                    <a:pt x="83" y="79"/>
                  </a:cubicBezTo>
                  <a:cubicBezTo>
                    <a:pt x="83" y="79"/>
                    <a:pt x="79" y="77"/>
                    <a:pt x="73" y="86"/>
                  </a:cubicBezTo>
                  <a:cubicBezTo>
                    <a:pt x="73" y="86"/>
                    <a:pt x="69" y="94"/>
                    <a:pt x="58" y="101"/>
                  </a:cubicBezTo>
                  <a:cubicBezTo>
                    <a:pt x="58" y="101"/>
                    <a:pt x="77" y="79"/>
                    <a:pt x="62" y="65"/>
                  </a:cubicBezTo>
                  <a:cubicBezTo>
                    <a:pt x="62" y="65"/>
                    <a:pt x="44" y="49"/>
                    <a:pt x="17" y="87"/>
                  </a:cubicBezTo>
                  <a:cubicBezTo>
                    <a:pt x="17" y="87"/>
                    <a:pt x="0" y="113"/>
                    <a:pt x="14" y="123"/>
                  </a:cubicBezTo>
                  <a:cubicBezTo>
                    <a:pt x="14" y="123"/>
                    <a:pt x="29" y="136"/>
                    <a:pt x="79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1" y="90"/>
                    <a:pt x="66" y="139"/>
                    <a:pt x="119" y="122"/>
                  </a:cubicBezTo>
                  <a:cubicBezTo>
                    <a:pt x="119" y="122"/>
                    <a:pt x="152" y="109"/>
                    <a:pt x="184" y="77"/>
                  </a:cubicBezTo>
                  <a:cubicBezTo>
                    <a:pt x="184" y="77"/>
                    <a:pt x="157" y="171"/>
                    <a:pt x="277" y="72"/>
                  </a:cubicBezTo>
                  <a:cubicBezTo>
                    <a:pt x="277" y="72"/>
                    <a:pt x="270" y="111"/>
                    <a:pt x="332" y="97"/>
                  </a:cubicBezTo>
                  <a:cubicBezTo>
                    <a:pt x="332" y="97"/>
                    <a:pt x="355" y="90"/>
                    <a:pt x="371" y="78"/>
                  </a:cubicBezTo>
                  <a:cubicBezTo>
                    <a:pt x="371" y="78"/>
                    <a:pt x="372" y="101"/>
                    <a:pt x="412" y="99"/>
                  </a:cubicBezTo>
                  <a:cubicBezTo>
                    <a:pt x="412" y="99"/>
                    <a:pt x="435" y="99"/>
                    <a:pt x="446" y="80"/>
                  </a:cubicBezTo>
                  <a:cubicBezTo>
                    <a:pt x="446" y="80"/>
                    <a:pt x="454" y="64"/>
                    <a:pt x="437" y="56"/>
                  </a:cubicBezTo>
                  <a:cubicBezTo>
                    <a:pt x="437" y="56"/>
                    <a:pt x="515" y="54"/>
                    <a:pt x="506" y="77"/>
                  </a:cubicBezTo>
                  <a:cubicBezTo>
                    <a:pt x="506" y="77"/>
                    <a:pt x="490" y="100"/>
                    <a:pt x="502" y="98"/>
                  </a:cubicBezTo>
                  <a:cubicBezTo>
                    <a:pt x="502" y="98"/>
                    <a:pt x="508" y="98"/>
                    <a:pt x="519" y="77"/>
                  </a:cubicBezTo>
                  <a:cubicBezTo>
                    <a:pt x="519" y="77"/>
                    <a:pt x="545" y="46"/>
                    <a:pt x="564" y="59"/>
                  </a:cubicBezTo>
                  <a:cubicBezTo>
                    <a:pt x="564" y="59"/>
                    <a:pt x="572" y="67"/>
                    <a:pt x="560" y="84"/>
                  </a:cubicBezTo>
                  <a:cubicBezTo>
                    <a:pt x="560" y="84"/>
                    <a:pt x="547" y="103"/>
                    <a:pt x="556" y="98"/>
                  </a:cubicBezTo>
                  <a:cubicBezTo>
                    <a:pt x="556" y="98"/>
                    <a:pt x="587" y="67"/>
                    <a:pt x="573" y="51"/>
                  </a:cubicBezTo>
                  <a:cubicBezTo>
                    <a:pt x="573" y="51"/>
                    <a:pt x="558" y="32"/>
                    <a:pt x="518" y="69"/>
                  </a:cubicBezTo>
                  <a:moveTo>
                    <a:pt x="20" y="105"/>
                  </a:moveTo>
                  <a:cubicBezTo>
                    <a:pt x="20" y="105"/>
                    <a:pt x="18" y="88"/>
                    <a:pt x="45" y="73"/>
                  </a:cubicBezTo>
                  <a:cubicBezTo>
                    <a:pt x="45" y="73"/>
                    <a:pt x="77" y="60"/>
                    <a:pt x="49" y="105"/>
                  </a:cubicBezTo>
                  <a:cubicBezTo>
                    <a:pt x="49" y="105"/>
                    <a:pt x="22" y="125"/>
                    <a:pt x="20" y="10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94" name="Freeform 72"/>
            <p:cNvSpPr>
              <a:spLocks noEditPoints="1"/>
            </p:cNvSpPr>
            <p:nvPr/>
          </p:nvSpPr>
          <p:spPr bwMode="auto">
            <a:xfrm>
              <a:off x="5080967" y="1983421"/>
              <a:ext cx="1304003" cy="796229"/>
            </a:xfrm>
            <a:custGeom>
              <a:avLst/>
              <a:gdLst>
                <a:gd name="T0" fmla="*/ 530 w 547"/>
                <a:gd name="T1" fmla="*/ 96 h 334"/>
                <a:gd name="T2" fmla="*/ 435 w 547"/>
                <a:gd name="T3" fmla="*/ 85 h 334"/>
                <a:gd name="T4" fmla="*/ 425 w 547"/>
                <a:gd name="T5" fmla="*/ 88 h 334"/>
                <a:gd name="T6" fmla="*/ 359 w 547"/>
                <a:gd name="T7" fmla="*/ 121 h 334"/>
                <a:gd name="T8" fmla="*/ 333 w 547"/>
                <a:gd name="T9" fmla="*/ 102 h 334"/>
                <a:gd name="T10" fmla="*/ 324 w 547"/>
                <a:gd name="T11" fmla="*/ 99 h 334"/>
                <a:gd name="T12" fmla="*/ 298 w 547"/>
                <a:gd name="T13" fmla="*/ 118 h 334"/>
                <a:gd name="T14" fmla="*/ 245 w 547"/>
                <a:gd name="T15" fmla="*/ 113 h 334"/>
                <a:gd name="T16" fmla="*/ 237 w 547"/>
                <a:gd name="T17" fmla="*/ 94 h 334"/>
                <a:gd name="T18" fmla="*/ 195 w 547"/>
                <a:gd name="T19" fmla="*/ 120 h 334"/>
                <a:gd name="T20" fmla="*/ 183 w 547"/>
                <a:gd name="T21" fmla="*/ 135 h 334"/>
                <a:gd name="T22" fmla="*/ 218 w 547"/>
                <a:gd name="T23" fmla="*/ 68 h 334"/>
                <a:gd name="T24" fmla="*/ 233 w 547"/>
                <a:gd name="T25" fmla="*/ 12 h 334"/>
                <a:gd name="T26" fmla="*/ 223 w 547"/>
                <a:gd name="T27" fmla="*/ 16 h 334"/>
                <a:gd name="T28" fmla="*/ 214 w 547"/>
                <a:gd name="T29" fmla="*/ 46 h 334"/>
                <a:gd name="T30" fmla="*/ 194 w 547"/>
                <a:gd name="T31" fmla="*/ 86 h 334"/>
                <a:gd name="T32" fmla="*/ 97 w 547"/>
                <a:gd name="T33" fmla="*/ 124 h 334"/>
                <a:gd name="T34" fmla="*/ 99 w 547"/>
                <a:gd name="T35" fmla="*/ 96 h 334"/>
                <a:gd name="T36" fmla="*/ 73 w 547"/>
                <a:gd name="T37" fmla="*/ 72 h 334"/>
                <a:gd name="T38" fmla="*/ 10 w 547"/>
                <a:gd name="T39" fmla="*/ 129 h 334"/>
                <a:gd name="T40" fmla="*/ 15 w 547"/>
                <a:gd name="T41" fmla="*/ 152 h 334"/>
                <a:gd name="T42" fmla="*/ 17 w 547"/>
                <a:gd name="T43" fmla="*/ 144 h 334"/>
                <a:gd name="T44" fmla="*/ 34 w 547"/>
                <a:gd name="T45" fmla="*/ 110 h 334"/>
                <a:gd name="T46" fmla="*/ 81 w 547"/>
                <a:gd name="T47" fmla="*/ 83 h 334"/>
                <a:gd name="T48" fmla="*/ 88 w 547"/>
                <a:gd name="T49" fmla="*/ 114 h 334"/>
                <a:gd name="T50" fmla="*/ 87 w 547"/>
                <a:gd name="T51" fmla="*/ 124 h 334"/>
                <a:gd name="T52" fmla="*/ 75 w 547"/>
                <a:gd name="T53" fmla="*/ 121 h 334"/>
                <a:gd name="T54" fmla="*/ 67 w 547"/>
                <a:gd name="T55" fmla="*/ 117 h 334"/>
                <a:gd name="T56" fmla="*/ 65 w 547"/>
                <a:gd name="T57" fmla="*/ 150 h 334"/>
                <a:gd name="T58" fmla="*/ 89 w 547"/>
                <a:gd name="T59" fmla="*/ 146 h 334"/>
                <a:gd name="T60" fmla="*/ 94 w 547"/>
                <a:gd name="T61" fmla="*/ 135 h 334"/>
                <a:gd name="T62" fmla="*/ 186 w 547"/>
                <a:gd name="T63" fmla="*/ 103 h 334"/>
                <a:gd name="T64" fmla="*/ 177 w 547"/>
                <a:gd name="T65" fmla="*/ 126 h 334"/>
                <a:gd name="T66" fmla="*/ 166 w 547"/>
                <a:gd name="T67" fmla="*/ 154 h 334"/>
                <a:gd name="T68" fmla="*/ 180 w 547"/>
                <a:gd name="T69" fmla="*/ 149 h 334"/>
                <a:gd name="T70" fmla="*/ 230 w 547"/>
                <a:gd name="T71" fmla="*/ 100 h 334"/>
                <a:gd name="T72" fmla="*/ 233 w 547"/>
                <a:gd name="T73" fmla="*/ 109 h 334"/>
                <a:gd name="T74" fmla="*/ 321 w 547"/>
                <a:gd name="T75" fmla="*/ 111 h 334"/>
                <a:gd name="T76" fmla="*/ 393 w 547"/>
                <a:gd name="T77" fmla="*/ 117 h 334"/>
                <a:gd name="T78" fmla="*/ 323 w 547"/>
                <a:gd name="T79" fmla="*/ 285 h 334"/>
                <a:gd name="T80" fmla="*/ 333 w 547"/>
                <a:gd name="T81" fmla="*/ 321 h 334"/>
                <a:gd name="T82" fmla="*/ 391 w 547"/>
                <a:gd name="T83" fmla="*/ 235 h 334"/>
                <a:gd name="T84" fmla="*/ 424 w 547"/>
                <a:gd name="T85" fmla="*/ 121 h 334"/>
                <a:gd name="T86" fmla="*/ 432 w 547"/>
                <a:gd name="T87" fmla="*/ 100 h 334"/>
                <a:gd name="T88" fmla="*/ 435 w 547"/>
                <a:gd name="T89" fmla="*/ 96 h 334"/>
                <a:gd name="T90" fmla="*/ 438 w 547"/>
                <a:gd name="T91" fmla="*/ 94 h 334"/>
                <a:gd name="T92" fmla="*/ 510 w 547"/>
                <a:gd name="T93" fmla="*/ 92 h 334"/>
                <a:gd name="T94" fmla="*/ 524 w 547"/>
                <a:gd name="T95" fmla="*/ 134 h 334"/>
                <a:gd name="T96" fmla="*/ 461 w 547"/>
                <a:gd name="T97" fmla="*/ 149 h 334"/>
                <a:gd name="T98" fmla="*/ 448 w 547"/>
                <a:gd name="T99" fmla="*/ 146 h 334"/>
                <a:gd name="T100" fmla="*/ 494 w 547"/>
                <a:gd name="T101" fmla="*/ 160 h 334"/>
                <a:gd name="T102" fmla="*/ 534 w 547"/>
                <a:gd name="T103" fmla="*/ 137 h 334"/>
                <a:gd name="T104" fmla="*/ 530 w 547"/>
                <a:gd name="T105" fmla="*/ 96 h 334"/>
                <a:gd name="T106" fmla="*/ 74 w 547"/>
                <a:gd name="T107" fmla="*/ 145 h 334"/>
                <a:gd name="T108" fmla="*/ 68 w 547"/>
                <a:gd name="T109" fmla="*/ 130 h 334"/>
                <a:gd name="T110" fmla="*/ 85 w 547"/>
                <a:gd name="T111" fmla="*/ 135 h 334"/>
                <a:gd name="T112" fmla="*/ 74 w 547"/>
                <a:gd name="T113" fmla="*/ 145 h 334"/>
                <a:gd name="T114" fmla="*/ 373 w 547"/>
                <a:gd name="T115" fmla="*/ 259 h 334"/>
                <a:gd name="T116" fmla="*/ 345 w 547"/>
                <a:gd name="T117" fmla="*/ 310 h 334"/>
                <a:gd name="T118" fmla="*/ 343 w 547"/>
                <a:gd name="T119" fmla="*/ 234 h 334"/>
                <a:gd name="T120" fmla="*/ 417 w 547"/>
                <a:gd name="T121" fmla="*/ 109 h 334"/>
                <a:gd name="T122" fmla="*/ 373 w 547"/>
                <a:gd name="T123" fmla="*/ 25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334">
                  <a:moveTo>
                    <a:pt x="530" y="96"/>
                  </a:moveTo>
                  <a:cubicBezTo>
                    <a:pt x="492" y="54"/>
                    <a:pt x="435" y="85"/>
                    <a:pt x="435" y="85"/>
                  </a:cubicBezTo>
                  <a:cubicBezTo>
                    <a:pt x="427" y="83"/>
                    <a:pt x="425" y="88"/>
                    <a:pt x="425" y="88"/>
                  </a:cubicBezTo>
                  <a:cubicBezTo>
                    <a:pt x="393" y="114"/>
                    <a:pt x="359" y="121"/>
                    <a:pt x="359" y="121"/>
                  </a:cubicBezTo>
                  <a:cubicBezTo>
                    <a:pt x="328" y="127"/>
                    <a:pt x="333" y="102"/>
                    <a:pt x="333" y="102"/>
                  </a:cubicBezTo>
                  <a:cubicBezTo>
                    <a:pt x="333" y="89"/>
                    <a:pt x="324" y="99"/>
                    <a:pt x="324" y="99"/>
                  </a:cubicBezTo>
                  <a:cubicBezTo>
                    <a:pt x="318" y="107"/>
                    <a:pt x="298" y="118"/>
                    <a:pt x="298" y="118"/>
                  </a:cubicBezTo>
                  <a:cubicBezTo>
                    <a:pt x="257" y="139"/>
                    <a:pt x="245" y="113"/>
                    <a:pt x="245" y="113"/>
                  </a:cubicBezTo>
                  <a:cubicBezTo>
                    <a:pt x="237" y="94"/>
                    <a:pt x="237" y="94"/>
                    <a:pt x="237" y="94"/>
                  </a:cubicBezTo>
                  <a:cubicBezTo>
                    <a:pt x="228" y="71"/>
                    <a:pt x="195" y="120"/>
                    <a:pt x="195" y="120"/>
                  </a:cubicBezTo>
                  <a:cubicBezTo>
                    <a:pt x="185" y="137"/>
                    <a:pt x="183" y="135"/>
                    <a:pt x="183" y="135"/>
                  </a:cubicBezTo>
                  <a:cubicBezTo>
                    <a:pt x="190" y="110"/>
                    <a:pt x="218" y="68"/>
                    <a:pt x="218" y="68"/>
                  </a:cubicBezTo>
                  <a:cubicBezTo>
                    <a:pt x="239" y="31"/>
                    <a:pt x="233" y="12"/>
                    <a:pt x="233" y="12"/>
                  </a:cubicBezTo>
                  <a:cubicBezTo>
                    <a:pt x="228" y="0"/>
                    <a:pt x="223" y="16"/>
                    <a:pt x="223" y="16"/>
                  </a:cubicBezTo>
                  <a:cubicBezTo>
                    <a:pt x="221" y="29"/>
                    <a:pt x="214" y="46"/>
                    <a:pt x="214" y="46"/>
                  </a:cubicBezTo>
                  <a:cubicBezTo>
                    <a:pt x="204" y="73"/>
                    <a:pt x="194" y="86"/>
                    <a:pt x="194" y="86"/>
                  </a:cubicBezTo>
                  <a:cubicBezTo>
                    <a:pt x="147" y="117"/>
                    <a:pt x="116" y="124"/>
                    <a:pt x="97" y="124"/>
                  </a:cubicBezTo>
                  <a:cubicBezTo>
                    <a:pt x="100" y="109"/>
                    <a:pt x="99" y="96"/>
                    <a:pt x="99" y="96"/>
                  </a:cubicBezTo>
                  <a:cubicBezTo>
                    <a:pt x="96" y="67"/>
                    <a:pt x="73" y="72"/>
                    <a:pt x="73" y="72"/>
                  </a:cubicBezTo>
                  <a:cubicBezTo>
                    <a:pt x="35" y="77"/>
                    <a:pt x="10" y="129"/>
                    <a:pt x="10" y="129"/>
                  </a:cubicBezTo>
                  <a:cubicBezTo>
                    <a:pt x="0" y="154"/>
                    <a:pt x="15" y="152"/>
                    <a:pt x="15" y="152"/>
                  </a:cubicBezTo>
                  <a:cubicBezTo>
                    <a:pt x="25" y="149"/>
                    <a:pt x="17" y="144"/>
                    <a:pt x="17" y="144"/>
                  </a:cubicBezTo>
                  <a:cubicBezTo>
                    <a:pt x="17" y="130"/>
                    <a:pt x="34" y="110"/>
                    <a:pt x="34" y="110"/>
                  </a:cubicBezTo>
                  <a:cubicBezTo>
                    <a:pt x="72" y="70"/>
                    <a:pt x="81" y="83"/>
                    <a:pt x="81" y="83"/>
                  </a:cubicBezTo>
                  <a:cubicBezTo>
                    <a:pt x="80" y="83"/>
                    <a:pt x="92" y="89"/>
                    <a:pt x="88" y="114"/>
                  </a:cubicBezTo>
                  <a:cubicBezTo>
                    <a:pt x="88" y="118"/>
                    <a:pt x="87" y="121"/>
                    <a:pt x="87" y="124"/>
                  </a:cubicBezTo>
                  <a:cubicBezTo>
                    <a:pt x="79" y="123"/>
                    <a:pt x="75" y="121"/>
                    <a:pt x="75" y="121"/>
                  </a:cubicBezTo>
                  <a:cubicBezTo>
                    <a:pt x="69" y="115"/>
                    <a:pt x="67" y="117"/>
                    <a:pt x="67" y="117"/>
                  </a:cubicBezTo>
                  <a:cubicBezTo>
                    <a:pt x="50" y="123"/>
                    <a:pt x="65" y="150"/>
                    <a:pt x="65" y="150"/>
                  </a:cubicBezTo>
                  <a:cubicBezTo>
                    <a:pt x="77" y="167"/>
                    <a:pt x="89" y="146"/>
                    <a:pt x="89" y="146"/>
                  </a:cubicBezTo>
                  <a:cubicBezTo>
                    <a:pt x="91" y="142"/>
                    <a:pt x="93" y="139"/>
                    <a:pt x="94" y="135"/>
                  </a:cubicBezTo>
                  <a:cubicBezTo>
                    <a:pt x="135" y="134"/>
                    <a:pt x="186" y="103"/>
                    <a:pt x="186" y="103"/>
                  </a:cubicBezTo>
                  <a:cubicBezTo>
                    <a:pt x="185" y="112"/>
                    <a:pt x="177" y="126"/>
                    <a:pt x="177" y="126"/>
                  </a:cubicBezTo>
                  <a:cubicBezTo>
                    <a:pt x="161" y="155"/>
                    <a:pt x="166" y="154"/>
                    <a:pt x="166" y="154"/>
                  </a:cubicBezTo>
                  <a:cubicBezTo>
                    <a:pt x="171" y="165"/>
                    <a:pt x="180" y="149"/>
                    <a:pt x="180" y="149"/>
                  </a:cubicBezTo>
                  <a:cubicBezTo>
                    <a:pt x="230" y="82"/>
                    <a:pt x="230" y="100"/>
                    <a:pt x="230" y="100"/>
                  </a:cubicBezTo>
                  <a:cubicBezTo>
                    <a:pt x="233" y="109"/>
                    <a:pt x="233" y="109"/>
                    <a:pt x="233" y="109"/>
                  </a:cubicBezTo>
                  <a:cubicBezTo>
                    <a:pt x="257" y="165"/>
                    <a:pt x="321" y="111"/>
                    <a:pt x="321" y="111"/>
                  </a:cubicBezTo>
                  <a:cubicBezTo>
                    <a:pt x="337" y="152"/>
                    <a:pt x="393" y="117"/>
                    <a:pt x="393" y="117"/>
                  </a:cubicBezTo>
                  <a:cubicBezTo>
                    <a:pt x="332" y="198"/>
                    <a:pt x="323" y="285"/>
                    <a:pt x="323" y="285"/>
                  </a:cubicBezTo>
                  <a:cubicBezTo>
                    <a:pt x="319" y="317"/>
                    <a:pt x="333" y="321"/>
                    <a:pt x="333" y="321"/>
                  </a:cubicBezTo>
                  <a:cubicBezTo>
                    <a:pt x="368" y="334"/>
                    <a:pt x="391" y="235"/>
                    <a:pt x="391" y="235"/>
                  </a:cubicBezTo>
                  <a:cubicBezTo>
                    <a:pt x="424" y="121"/>
                    <a:pt x="424" y="121"/>
                    <a:pt x="424" y="121"/>
                  </a:cubicBezTo>
                  <a:cubicBezTo>
                    <a:pt x="429" y="100"/>
                    <a:pt x="432" y="100"/>
                    <a:pt x="432" y="100"/>
                  </a:cubicBezTo>
                  <a:cubicBezTo>
                    <a:pt x="434" y="97"/>
                    <a:pt x="435" y="96"/>
                    <a:pt x="435" y="96"/>
                  </a:cubicBezTo>
                  <a:cubicBezTo>
                    <a:pt x="437" y="94"/>
                    <a:pt x="438" y="94"/>
                    <a:pt x="438" y="94"/>
                  </a:cubicBezTo>
                  <a:cubicBezTo>
                    <a:pt x="485" y="70"/>
                    <a:pt x="510" y="92"/>
                    <a:pt x="510" y="92"/>
                  </a:cubicBezTo>
                  <a:cubicBezTo>
                    <a:pt x="540" y="114"/>
                    <a:pt x="524" y="134"/>
                    <a:pt x="524" y="134"/>
                  </a:cubicBezTo>
                  <a:cubicBezTo>
                    <a:pt x="496" y="163"/>
                    <a:pt x="461" y="149"/>
                    <a:pt x="461" y="149"/>
                  </a:cubicBezTo>
                  <a:cubicBezTo>
                    <a:pt x="447" y="142"/>
                    <a:pt x="448" y="146"/>
                    <a:pt x="448" y="146"/>
                  </a:cubicBezTo>
                  <a:cubicBezTo>
                    <a:pt x="467" y="163"/>
                    <a:pt x="494" y="160"/>
                    <a:pt x="494" y="160"/>
                  </a:cubicBezTo>
                  <a:cubicBezTo>
                    <a:pt x="518" y="158"/>
                    <a:pt x="534" y="137"/>
                    <a:pt x="534" y="137"/>
                  </a:cubicBezTo>
                  <a:cubicBezTo>
                    <a:pt x="547" y="117"/>
                    <a:pt x="530" y="96"/>
                    <a:pt x="530" y="96"/>
                  </a:cubicBezTo>
                  <a:moveTo>
                    <a:pt x="74" y="145"/>
                  </a:moveTo>
                  <a:cubicBezTo>
                    <a:pt x="70" y="142"/>
                    <a:pt x="68" y="130"/>
                    <a:pt x="68" y="130"/>
                  </a:cubicBezTo>
                  <a:cubicBezTo>
                    <a:pt x="73" y="133"/>
                    <a:pt x="79" y="134"/>
                    <a:pt x="85" y="135"/>
                  </a:cubicBezTo>
                  <a:cubicBezTo>
                    <a:pt x="80" y="154"/>
                    <a:pt x="74" y="145"/>
                    <a:pt x="74" y="145"/>
                  </a:cubicBezTo>
                  <a:moveTo>
                    <a:pt x="373" y="259"/>
                  </a:moveTo>
                  <a:cubicBezTo>
                    <a:pt x="359" y="304"/>
                    <a:pt x="345" y="310"/>
                    <a:pt x="345" y="310"/>
                  </a:cubicBezTo>
                  <a:cubicBezTo>
                    <a:pt x="317" y="318"/>
                    <a:pt x="343" y="234"/>
                    <a:pt x="343" y="234"/>
                  </a:cubicBezTo>
                  <a:cubicBezTo>
                    <a:pt x="372" y="140"/>
                    <a:pt x="417" y="109"/>
                    <a:pt x="417" y="109"/>
                  </a:cubicBezTo>
                  <a:cubicBezTo>
                    <a:pt x="421" y="107"/>
                    <a:pt x="373" y="259"/>
                    <a:pt x="373" y="25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95" name="Freeform 73"/>
            <p:cNvSpPr>
              <a:spLocks/>
            </p:cNvSpPr>
            <p:nvPr/>
          </p:nvSpPr>
          <p:spPr bwMode="auto">
            <a:xfrm>
              <a:off x="3080859" y="2410142"/>
              <a:ext cx="2784417" cy="123964"/>
            </a:xfrm>
            <a:custGeom>
              <a:avLst/>
              <a:gdLst>
                <a:gd name="T0" fmla="*/ 0 w 1168"/>
                <a:gd name="T1" fmla="*/ 46 h 52"/>
                <a:gd name="T2" fmla="*/ 607 w 1168"/>
                <a:gd name="T3" fmla="*/ 14 h 52"/>
                <a:gd name="T4" fmla="*/ 1168 w 1168"/>
                <a:gd name="T5" fmla="*/ 32 h 52"/>
                <a:gd name="T6" fmla="*/ 1164 w 1168"/>
                <a:gd name="T7" fmla="*/ 40 h 52"/>
                <a:gd name="T8" fmla="*/ 756 w 1168"/>
                <a:gd name="T9" fmla="*/ 18 h 52"/>
                <a:gd name="T10" fmla="*/ 12 w 1168"/>
                <a:gd name="T11" fmla="*/ 52 h 52"/>
                <a:gd name="T12" fmla="*/ 0 w 1168"/>
                <a:gd name="T13" fmla="*/ 4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8" h="52">
                  <a:moveTo>
                    <a:pt x="0" y="46"/>
                  </a:moveTo>
                  <a:cubicBezTo>
                    <a:pt x="0" y="46"/>
                    <a:pt x="417" y="14"/>
                    <a:pt x="607" y="14"/>
                  </a:cubicBezTo>
                  <a:cubicBezTo>
                    <a:pt x="607" y="14"/>
                    <a:pt x="1089" y="0"/>
                    <a:pt x="1168" y="32"/>
                  </a:cubicBezTo>
                  <a:cubicBezTo>
                    <a:pt x="1164" y="40"/>
                    <a:pt x="1164" y="40"/>
                    <a:pt x="1164" y="40"/>
                  </a:cubicBezTo>
                  <a:cubicBezTo>
                    <a:pt x="1164" y="40"/>
                    <a:pt x="1059" y="16"/>
                    <a:pt x="756" y="18"/>
                  </a:cubicBezTo>
                  <a:cubicBezTo>
                    <a:pt x="756" y="18"/>
                    <a:pt x="183" y="28"/>
                    <a:pt x="12" y="52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96" name="Freeform 74"/>
            <p:cNvSpPr>
              <a:spLocks/>
            </p:cNvSpPr>
            <p:nvPr/>
          </p:nvSpPr>
          <p:spPr bwMode="auto">
            <a:xfrm>
              <a:off x="6284846" y="2045402"/>
              <a:ext cx="57214" cy="69134"/>
            </a:xfrm>
            <a:custGeom>
              <a:avLst/>
              <a:gdLst>
                <a:gd name="T0" fmla="*/ 48 w 48"/>
                <a:gd name="T1" fmla="*/ 0 h 58"/>
                <a:gd name="T2" fmla="*/ 48 w 48"/>
                <a:gd name="T3" fmla="*/ 8 h 58"/>
                <a:gd name="T4" fmla="*/ 28 w 48"/>
                <a:gd name="T5" fmla="*/ 8 h 58"/>
                <a:gd name="T6" fmla="*/ 28 w 48"/>
                <a:gd name="T7" fmla="*/ 58 h 58"/>
                <a:gd name="T8" fmla="*/ 20 w 48"/>
                <a:gd name="T9" fmla="*/ 58 h 58"/>
                <a:gd name="T10" fmla="*/ 20 w 48"/>
                <a:gd name="T11" fmla="*/ 8 h 58"/>
                <a:gd name="T12" fmla="*/ 0 w 48"/>
                <a:gd name="T13" fmla="*/ 8 h 58"/>
                <a:gd name="T14" fmla="*/ 0 w 48"/>
                <a:gd name="T15" fmla="*/ 0 h 58"/>
                <a:gd name="T16" fmla="*/ 48 w 48"/>
                <a:gd name="T1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58">
                  <a:moveTo>
                    <a:pt x="48" y="0"/>
                  </a:moveTo>
                  <a:lnTo>
                    <a:pt x="48" y="8"/>
                  </a:lnTo>
                  <a:lnTo>
                    <a:pt x="28" y="8"/>
                  </a:lnTo>
                  <a:lnTo>
                    <a:pt x="28" y="58"/>
                  </a:lnTo>
                  <a:lnTo>
                    <a:pt x="20" y="58"/>
                  </a:lnTo>
                  <a:lnTo>
                    <a:pt x="20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  <p:sp>
          <p:nvSpPr>
            <p:cNvPr id="97" name="Freeform 75"/>
            <p:cNvSpPr>
              <a:spLocks/>
            </p:cNvSpPr>
            <p:nvPr/>
          </p:nvSpPr>
          <p:spPr bwMode="auto">
            <a:xfrm>
              <a:off x="6349212" y="2045402"/>
              <a:ext cx="66750" cy="69134"/>
            </a:xfrm>
            <a:custGeom>
              <a:avLst/>
              <a:gdLst>
                <a:gd name="T0" fmla="*/ 28 w 28"/>
                <a:gd name="T1" fmla="*/ 0 h 29"/>
                <a:gd name="T2" fmla="*/ 28 w 28"/>
                <a:gd name="T3" fmla="*/ 29 h 29"/>
                <a:gd name="T4" fmla="*/ 24 w 28"/>
                <a:gd name="T5" fmla="*/ 29 h 29"/>
                <a:gd name="T6" fmla="*/ 24 w 28"/>
                <a:gd name="T7" fmla="*/ 18 h 29"/>
                <a:gd name="T8" fmla="*/ 24 w 28"/>
                <a:gd name="T9" fmla="*/ 7 h 29"/>
                <a:gd name="T10" fmla="*/ 24 w 28"/>
                <a:gd name="T11" fmla="*/ 7 h 29"/>
                <a:gd name="T12" fmla="*/ 21 w 28"/>
                <a:gd name="T13" fmla="*/ 12 h 29"/>
                <a:gd name="T14" fmla="*/ 16 w 28"/>
                <a:gd name="T15" fmla="*/ 22 h 29"/>
                <a:gd name="T16" fmla="*/ 13 w 28"/>
                <a:gd name="T17" fmla="*/ 22 h 29"/>
                <a:gd name="T18" fmla="*/ 7 w 28"/>
                <a:gd name="T19" fmla="*/ 12 h 29"/>
                <a:gd name="T20" fmla="*/ 5 w 28"/>
                <a:gd name="T21" fmla="*/ 7 h 29"/>
                <a:gd name="T22" fmla="*/ 5 w 28"/>
                <a:gd name="T23" fmla="*/ 7 h 29"/>
                <a:gd name="T24" fmla="*/ 5 w 28"/>
                <a:gd name="T25" fmla="*/ 18 h 29"/>
                <a:gd name="T26" fmla="*/ 5 w 28"/>
                <a:gd name="T27" fmla="*/ 29 h 29"/>
                <a:gd name="T28" fmla="*/ 0 w 28"/>
                <a:gd name="T29" fmla="*/ 29 h 29"/>
                <a:gd name="T30" fmla="*/ 0 w 28"/>
                <a:gd name="T31" fmla="*/ 0 h 29"/>
                <a:gd name="T32" fmla="*/ 5 w 28"/>
                <a:gd name="T33" fmla="*/ 0 h 29"/>
                <a:gd name="T34" fmla="*/ 11 w 28"/>
                <a:gd name="T35" fmla="*/ 11 h 29"/>
                <a:gd name="T36" fmla="*/ 14 w 28"/>
                <a:gd name="T37" fmla="*/ 16 h 29"/>
                <a:gd name="T38" fmla="*/ 14 w 28"/>
                <a:gd name="T39" fmla="*/ 16 h 29"/>
                <a:gd name="T40" fmla="*/ 17 w 28"/>
                <a:gd name="T41" fmla="*/ 11 h 29"/>
                <a:gd name="T42" fmla="*/ 24 w 28"/>
                <a:gd name="T43" fmla="*/ 0 h 29"/>
                <a:gd name="T44" fmla="*/ 28 w 28"/>
                <a:gd name="T4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29">
                  <a:moveTo>
                    <a:pt x="28" y="0"/>
                  </a:moveTo>
                  <a:cubicBezTo>
                    <a:pt x="28" y="29"/>
                    <a:pt x="28" y="29"/>
                    <a:pt x="28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2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2" y="10"/>
                    <a:pt x="21" y="1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0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12"/>
                    <a:pt x="5" y="1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4" y="15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5" y="15"/>
                    <a:pt x="17" y="11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0" dirty="0"/>
            </a:p>
          </p:txBody>
        </p:sp>
      </p:grpSp>
      <p:sp>
        <p:nvSpPr>
          <p:cNvPr id="98" name="TextBox 48"/>
          <p:cNvSpPr txBox="1">
            <a:spLocks noChangeArrowheads="1"/>
          </p:cNvSpPr>
          <p:nvPr/>
        </p:nvSpPr>
        <p:spPr bwMode="auto">
          <a:xfrm>
            <a:off x="2749572" y="4052466"/>
            <a:ext cx="6692858" cy="332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1560" b="1" dirty="0">
                <a:solidFill>
                  <a:schemeClr val="bg1"/>
                </a:solidFill>
              </a:rPr>
              <a:t>$8 </a:t>
            </a:r>
            <a:r>
              <a:rPr lang="en-US" sz="1560" dirty="0">
                <a:solidFill>
                  <a:schemeClr val="bg1"/>
                </a:solidFill>
              </a:rPr>
              <a:t>BILLION ENTERPRISE | </a:t>
            </a:r>
            <a:r>
              <a:rPr lang="en-US" sz="1560" b="1" dirty="0">
                <a:solidFill>
                  <a:schemeClr val="bg1"/>
                </a:solidFill>
              </a:rPr>
              <a:t>120,000</a:t>
            </a:r>
            <a:r>
              <a:rPr lang="en-US" sz="1560" dirty="0">
                <a:solidFill>
                  <a:schemeClr val="bg1"/>
                </a:solidFill>
              </a:rPr>
              <a:t> IDEAPRENEURS | </a:t>
            </a:r>
            <a:r>
              <a:rPr lang="en-US" sz="1560" b="1" dirty="0">
                <a:solidFill>
                  <a:schemeClr val="bg1"/>
                </a:solidFill>
              </a:rPr>
              <a:t>39</a:t>
            </a:r>
            <a:r>
              <a:rPr lang="en-US" sz="1560" dirty="0">
                <a:solidFill>
                  <a:schemeClr val="bg1"/>
                </a:solidFill>
              </a:rPr>
              <a:t> COUNTRIES</a:t>
            </a:r>
          </a:p>
        </p:txBody>
      </p:sp>
    </p:spTree>
    <p:extLst>
      <p:ext uri="{BB962C8B-B14F-4D97-AF65-F5344CB8AC3E}">
        <p14:creationId xmlns:p14="http://schemas.microsoft.com/office/powerpoint/2010/main" val="9884863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4724400" y="6500732"/>
            <a:ext cx="2743200" cy="365125"/>
          </a:xfrm>
          <a:prstGeom prst="rect">
            <a:avLst/>
          </a:prstGeom>
        </p:spPr>
        <p:txBody>
          <a:bodyPr/>
          <a:lstStyle/>
          <a:p>
            <a:fld id="{04D3B416-56D6-4E1A-828A-9E1D5E721EE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9560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0" y="0"/>
            <a:ext cx="12189078" cy="4984034"/>
          </a:xfrm>
          <a:prstGeom prst="rect">
            <a:avLst/>
          </a:prstGeom>
        </p:spPr>
      </p:pic>
      <p:sp>
        <p:nvSpPr>
          <p:cNvPr id="143360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14252" y="4992658"/>
            <a:ext cx="11363498" cy="743998"/>
          </a:xfrm>
        </p:spPr>
        <p:txBody>
          <a:bodyPr wrap="square" lIns="0" tIns="0" rIns="0" bIns="0" anchor="ctr" anchorCtr="0">
            <a:noAutofit/>
          </a:bodyPr>
          <a:lstStyle>
            <a:lvl1pPr>
              <a:lnSpc>
                <a:spcPct val="100000"/>
              </a:lnSpc>
              <a:defRPr sz="2800" b="1">
                <a:solidFill>
                  <a:srgbClr val="00529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3360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14253" y="5736657"/>
            <a:ext cx="11363496" cy="425801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buFont typeface="Wingdings 2" pitchFamily="18" charset="2"/>
              <a:buNone/>
              <a:defRPr sz="2000" b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Rectangle 9"/>
          <p:cNvSpPr>
            <a:spLocks/>
          </p:cNvSpPr>
          <p:nvPr userDrawn="1"/>
        </p:nvSpPr>
        <p:spPr>
          <a:xfrm>
            <a:off x="7990357" y="6576274"/>
            <a:ext cx="3789845" cy="246221"/>
          </a:xfrm>
          <a:prstGeom prst="rect">
            <a:avLst/>
          </a:prstGeom>
          <a:noFill/>
          <a:ln>
            <a:noFill/>
          </a:ln>
        </p:spPr>
        <p:txBody>
          <a:bodyPr wrap="none" rIns="0">
            <a:spAutoFit/>
          </a:bodyPr>
          <a:lstStyle/>
          <a:p>
            <a:pPr lvl="0" algn="r" defTabSz="1217613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19 HCL Technologies Limited  |  www.hcltech.com</a:t>
            </a:r>
          </a:p>
        </p:txBody>
      </p:sp>
      <p:grpSp>
        <p:nvGrpSpPr>
          <p:cNvPr id="11" name="Group 5"/>
          <p:cNvGrpSpPr>
            <a:grpSpLocks noChangeAspect="1"/>
          </p:cNvGrpSpPr>
          <p:nvPr userDrawn="1"/>
        </p:nvGrpSpPr>
        <p:grpSpPr bwMode="auto">
          <a:xfrm>
            <a:off x="10522574" y="6372018"/>
            <a:ext cx="1257628" cy="213783"/>
            <a:chOff x="5094" y="3939"/>
            <a:chExt cx="1488" cy="255"/>
          </a:xfrm>
        </p:grpSpPr>
        <p:sp>
          <p:nvSpPr>
            <p:cNvPr id="12" name="AutoShape 4"/>
            <p:cNvSpPr>
              <a:spLocks noChangeAspect="1" noChangeArrowheads="1" noTextEdit="1"/>
            </p:cNvSpPr>
            <p:nvPr userDrawn="1"/>
          </p:nvSpPr>
          <p:spPr bwMode="auto">
            <a:xfrm>
              <a:off x="5094" y="3939"/>
              <a:ext cx="1488" cy="2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5122" y="3965"/>
              <a:ext cx="555" cy="194"/>
            </a:xfrm>
            <a:custGeom>
              <a:avLst/>
              <a:gdLst>
                <a:gd name="T0" fmla="*/ 0 w 555"/>
                <a:gd name="T1" fmla="*/ 194 h 194"/>
                <a:gd name="T2" fmla="*/ 156 w 555"/>
                <a:gd name="T3" fmla="*/ 194 h 194"/>
                <a:gd name="T4" fmla="*/ 189 w 555"/>
                <a:gd name="T5" fmla="*/ 116 h 194"/>
                <a:gd name="T6" fmla="*/ 343 w 555"/>
                <a:gd name="T7" fmla="*/ 116 h 194"/>
                <a:gd name="T8" fmla="*/ 310 w 555"/>
                <a:gd name="T9" fmla="*/ 194 h 194"/>
                <a:gd name="T10" fmla="*/ 468 w 555"/>
                <a:gd name="T11" fmla="*/ 194 h 194"/>
                <a:gd name="T12" fmla="*/ 555 w 555"/>
                <a:gd name="T13" fmla="*/ 0 h 194"/>
                <a:gd name="T14" fmla="*/ 395 w 555"/>
                <a:gd name="T15" fmla="*/ 0 h 194"/>
                <a:gd name="T16" fmla="*/ 366 w 555"/>
                <a:gd name="T17" fmla="*/ 66 h 194"/>
                <a:gd name="T18" fmla="*/ 213 w 555"/>
                <a:gd name="T19" fmla="*/ 66 h 194"/>
                <a:gd name="T20" fmla="*/ 241 w 555"/>
                <a:gd name="T21" fmla="*/ 0 h 194"/>
                <a:gd name="T22" fmla="*/ 85 w 555"/>
                <a:gd name="T23" fmla="*/ 0 h 194"/>
                <a:gd name="T24" fmla="*/ 0 w 555"/>
                <a:gd name="T25" fmla="*/ 194 h 1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55" h="194">
                  <a:moveTo>
                    <a:pt x="0" y="194"/>
                  </a:moveTo>
                  <a:lnTo>
                    <a:pt x="156" y="194"/>
                  </a:lnTo>
                  <a:lnTo>
                    <a:pt x="189" y="116"/>
                  </a:lnTo>
                  <a:lnTo>
                    <a:pt x="343" y="116"/>
                  </a:lnTo>
                  <a:lnTo>
                    <a:pt x="310" y="194"/>
                  </a:lnTo>
                  <a:lnTo>
                    <a:pt x="468" y="194"/>
                  </a:lnTo>
                  <a:lnTo>
                    <a:pt x="555" y="0"/>
                  </a:lnTo>
                  <a:lnTo>
                    <a:pt x="395" y="0"/>
                  </a:lnTo>
                  <a:lnTo>
                    <a:pt x="366" y="66"/>
                  </a:lnTo>
                  <a:lnTo>
                    <a:pt x="213" y="66"/>
                  </a:lnTo>
                  <a:lnTo>
                    <a:pt x="241" y="0"/>
                  </a:lnTo>
                  <a:lnTo>
                    <a:pt x="85" y="0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5649" y="3949"/>
              <a:ext cx="524" cy="222"/>
            </a:xfrm>
            <a:custGeom>
              <a:avLst/>
              <a:gdLst>
                <a:gd name="T0" fmla="*/ 27472 w 222"/>
                <a:gd name="T1" fmla="*/ 6096 h 94"/>
                <a:gd name="T2" fmla="*/ 38398 w 222"/>
                <a:gd name="T3" fmla="*/ 6096 h 94"/>
                <a:gd name="T4" fmla="*/ 31506 w 222"/>
                <a:gd name="T5" fmla="*/ 1393 h 94"/>
                <a:gd name="T6" fmla="*/ 5865 w 222"/>
                <a:gd name="T7" fmla="*/ 4322 h 94"/>
                <a:gd name="T8" fmla="*/ 5337 w 222"/>
                <a:gd name="T9" fmla="*/ 14251 h 94"/>
                <a:gd name="T10" fmla="*/ 26448 w 222"/>
                <a:gd name="T11" fmla="*/ 15053 h 94"/>
                <a:gd name="T12" fmla="*/ 36125 w 222"/>
                <a:gd name="T13" fmla="*/ 10736 h 94"/>
                <a:gd name="T14" fmla="*/ 25048 w 222"/>
                <a:gd name="T15" fmla="*/ 10736 h 94"/>
                <a:gd name="T16" fmla="*/ 19556 w 222"/>
                <a:gd name="T17" fmla="*/ 12477 h 94"/>
                <a:gd name="T18" fmla="*/ 13622 w 222"/>
                <a:gd name="T19" fmla="*/ 8311 h 94"/>
                <a:gd name="T20" fmla="*/ 21763 w 222"/>
                <a:gd name="T21" fmla="*/ 4322 h 94"/>
                <a:gd name="T22" fmla="*/ 27472 w 222"/>
                <a:gd name="T23" fmla="*/ 6096 h 9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2" h="94">
                  <a:moveTo>
                    <a:pt x="159" y="35"/>
                  </a:moveTo>
                  <a:cubicBezTo>
                    <a:pt x="222" y="35"/>
                    <a:pt x="222" y="35"/>
                    <a:pt x="222" y="35"/>
                  </a:cubicBezTo>
                  <a:cubicBezTo>
                    <a:pt x="221" y="21"/>
                    <a:pt x="208" y="12"/>
                    <a:pt x="182" y="8"/>
                  </a:cubicBezTo>
                  <a:cubicBezTo>
                    <a:pt x="130" y="0"/>
                    <a:pt x="74" y="3"/>
                    <a:pt x="34" y="25"/>
                  </a:cubicBezTo>
                  <a:cubicBezTo>
                    <a:pt x="2" y="43"/>
                    <a:pt x="0" y="69"/>
                    <a:pt x="31" y="82"/>
                  </a:cubicBezTo>
                  <a:cubicBezTo>
                    <a:pt x="58" y="93"/>
                    <a:pt x="113" y="94"/>
                    <a:pt x="153" y="87"/>
                  </a:cubicBezTo>
                  <a:cubicBezTo>
                    <a:pt x="179" y="83"/>
                    <a:pt x="198" y="74"/>
                    <a:pt x="209" y="62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37" y="68"/>
                    <a:pt x="126" y="71"/>
                    <a:pt x="113" y="72"/>
                  </a:cubicBezTo>
                  <a:cubicBezTo>
                    <a:pt x="77" y="72"/>
                    <a:pt x="72" y="61"/>
                    <a:pt x="79" y="48"/>
                  </a:cubicBezTo>
                  <a:cubicBezTo>
                    <a:pt x="86" y="34"/>
                    <a:pt x="102" y="25"/>
                    <a:pt x="126" y="25"/>
                  </a:cubicBezTo>
                  <a:cubicBezTo>
                    <a:pt x="145" y="24"/>
                    <a:pt x="154" y="28"/>
                    <a:pt x="159" y="35"/>
                  </a:cubicBez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6162" y="3965"/>
              <a:ext cx="403" cy="194"/>
            </a:xfrm>
            <a:custGeom>
              <a:avLst/>
              <a:gdLst>
                <a:gd name="T0" fmla="*/ 248 w 403"/>
                <a:gd name="T1" fmla="*/ 0 h 194"/>
                <a:gd name="T2" fmla="*/ 181 w 403"/>
                <a:gd name="T3" fmla="*/ 146 h 194"/>
                <a:gd name="T4" fmla="*/ 403 w 403"/>
                <a:gd name="T5" fmla="*/ 146 h 194"/>
                <a:gd name="T6" fmla="*/ 385 w 403"/>
                <a:gd name="T7" fmla="*/ 194 h 194"/>
                <a:gd name="T8" fmla="*/ 0 w 403"/>
                <a:gd name="T9" fmla="*/ 194 h 194"/>
                <a:gd name="T10" fmla="*/ 87 w 403"/>
                <a:gd name="T11" fmla="*/ 0 h 194"/>
                <a:gd name="T12" fmla="*/ 248 w 403"/>
                <a:gd name="T13" fmla="*/ 0 h 19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03" h="194">
                  <a:moveTo>
                    <a:pt x="248" y="0"/>
                  </a:moveTo>
                  <a:lnTo>
                    <a:pt x="181" y="146"/>
                  </a:lnTo>
                  <a:lnTo>
                    <a:pt x="403" y="146"/>
                  </a:lnTo>
                  <a:lnTo>
                    <a:pt x="385" y="194"/>
                  </a:lnTo>
                  <a:lnTo>
                    <a:pt x="0" y="194"/>
                  </a:lnTo>
                  <a:lnTo>
                    <a:pt x="87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4988417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82067164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242" y="0"/>
            <a:ext cx="11341514" cy="731520"/>
          </a:xfrm>
        </p:spPr>
        <p:txBody>
          <a:bodyPr/>
          <a:lstStyle>
            <a:lvl1pPr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2294323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4985389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326369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Group 68"/>
          <p:cNvGrpSpPr/>
          <p:nvPr userDrawn="1"/>
        </p:nvGrpSpPr>
        <p:grpSpPr>
          <a:xfrm>
            <a:off x="4899275" y="823248"/>
            <a:ext cx="2393454" cy="365535"/>
            <a:chOff x="3712598" y="617435"/>
            <a:chExt cx="1795091" cy="274151"/>
          </a:xfrm>
        </p:grpSpPr>
        <p:sp>
          <p:nvSpPr>
            <p:cNvPr id="70" name="Freeform 7"/>
            <p:cNvSpPr>
              <a:spLocks/>
            </p:cNvSpPr>
            <p:nvPr userDrawn="1"/>
          </p:nvSpPr>
          <p:spPr bwMode="auto">
            <a:xfrm>
              <a:off x="3712598" y="636506"/>
              <a:ext cx="688952" cy="240776"/>
            </a:xfrm>
            <a:custGeom>
              <a:avLst/>
              <a:gdLst>
                <a:gd name="T0" fmla="*/ 0 w 578"/>
                <a:gd name="T1" fmla="*/ 202 h 202"/>
                <a:gd name="T2" fmla="*/ 164 w 578"/>
                <a:gd name="T3" fmla="*/ 202 h 202"/>
                <a:gd name="T4" fmla="*/ 198 w 578"/>
                <a:gd name="T5" fmla="*/ 122 h 202"/>
                <a:gd name="T6" fmla="*/ 358 w 578"/>
                <a:gd name="T7" fmla="*/ 122 h 202"/>
                <a:gd name="T8" fmla="*/ 322 w 578"/>
                <a:gd name="T9" fmla="*/ 202 h 202"/>
                <a:gd name="T10" fmla="*/ 488 w 578"/>
                <a:gd name="T11" fmla="*/ 202 h 202"/>
                <a:gd name="T12" fmla="*/ 578 w 578"/>
                <a:gd name="T13" fmla="*/ 0 h 202"/>
                <a:gd name="T14" fmla="*/ 412 w 578"/>
                <a:gd name="T15" fmla="*/ 0 h 202"/>
                <a:gd name="T16" fmla="*/ 382 w 578"/>
                <a:gd name="T17" fmla="*/ 68 h 202"/>
                <a:gd name="T18" fmla="*/ 222 w 578"/>
                <a:gd name="T19" fmla="*/ 68 h 202"/>
                <a:gd name="T20" fmla="*/ 252 w 578"/>
                <a:gd name="T21" fmla="*/ 0 h 202"/>
                <a:gd name="T22" fmla="*/ 90 w 578"/>
                <a:gd name="T23" fmla="*/ 0 h 202"/>
                <a:gd name="T24" fmla="*/ 0 w 578"/>
                <a:gd name="T25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8" h="202">
                  <a:moveTo>
                    <a:pt x="0" y="202"/>
                  </a:moveTo>
                  <a:lnTo>
                    <a:pt x="164" y="202"/>
                  </a:lnTo>
                  <a:lnTo>
                    <a:pt x="198" y="122"/>
                  </a:lnTo>
                  <a:lnTo>
                    <a:pt x="358" y="122"/>
                  </a:lnTo>
                  <a:lnTo>
                    <a:pt x="322" y="202"/>
                  </a:lnTo>
                  <a:lnTo>
                    <a:pt x="488" y="202"/>
                  </a:lnTo>
                  <a:lnTo>
                    <a:pt x="578" y="0"/>
                  </a:lnTo>
                  <a:lnTo>
                    <a:pt x="412" y="0"/>
                  </a:lnTo>
                  <a:lnTo>
                    <a:pt x="382" y="68"/>
                  </a:lnTo>
                  <a:lnTo>
                    <a:pt x="222" y="68"/>
                  </a:lnTo>
                  <a:lnTo>
                    <a:pt x="252" y="0"/>
                  </a:lnTo>
                  <a:lnTo>
                    <a:pt x="90" y="0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Freeform 8"/>
            <p:cNvSpPr>
              <a:spLocks/>
            </p:cNvSpPr>
            <p:nvPr userDrawn="1"/>
          </p:nvSpPr>
          <p:spPr bwMode="auto">
            <a:xfrm>
              <a:off x="4368175" y="617435"/>
              <a:ext cx="650810" cy="274151"/>
            </a:xfrm>
            <a:custGeom>
              <a:avLst/>
              <a:gdLst>
                <a:gd name="T0" fmla="*/ 195 w 273"/>
                <a:gd name="T1" fmla="*/ 43 h 115"/>
                <a:gd name="T2" fmla="*/ 273 w 273"/>
                <a:gd name="T3" fmla="*/ 43 h 115"/>
                <a:gd name="T4" fmla="*/ 223 w 273"/>
                <a:gd name="T5" fmla="*/ 9 h 115"/>
                <a:gd name="T6" fmla="*/ 42 w 273"/>
                <a:gd name="T7" fmla="*/ 31 h 115"/>
                <a:gd name="T8" fmla="*/ 38 w 273"/>
                <a:gd name="T9" fmla="*/ 101 h 115"/>
                <a:gd name="T10" fmla="*/ 188 w 273"/>
                <a:gd name="T11" fmla="*/ 107 h 115"/>
                <a:gd name="T12" fmla="*/ 257 w 273"/>
                <a:gd name="T13" fmla="*/ 76 h 115"/>
                <a:gd name="T14" fmla="*/ 178 w 273"/>
                <a:gd name="T15" fmla="*/ 76 h 115"/>
                <a:gd name="T16" fmla="*/ 139 w 273"/>
                <a:gd name="T17" fmla="*/ 88 h 115"/>
                <a:gd name="T18" fmla="*/ 97 w 273"/>
                <a:gd name="T19" fmla="*/ 59 h 115"/>
                <a:gd name="T20" fmla="*/ 154 w 273"/>
                <a:gd name="T21" fmla="*/ 30 h 115"/>
                <a:gd name="T22" fmla="*/ 195 w 273"/>
                <a:gd name="T23" fmla="*/ 4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3" h="115">
                  <a:moveTo>
                    <a:pt x="195" y="43"/>
                  </a:moveTo>
                  <a:cubicBezTo>
                    <a:pt x="273" y="43"/>
                    <a:pt x="273" y="43"/>
                    <a:pt x="273" y="43"/>
                  </a:cubicBezTo>
                  <a:cubicBezTo>
                    <a:pt x="272" y="26"/>
                    <a:pt x="256" y="14"/>
                    <a:pt x="223" y="9"/>
                  </a:cubicBezTo>
                  <a:cubicBezTo>
                    <a:pt x="160" y="0"/>
                    <a:pt x="91" y="4"/>
                    <a:pt x="42" y="31"/>
                  </a:cubicBezTo>
                  <a:cubicBezTo>
                    <a:pt x="3" y="53"/>
                    <a:pt x="0" y="85"/>
                    <a:pt x="38" y="101"/>
                  </a:cubicBezTo>
                  <a:cubicBezTo>
                    <a:pt x="71" y="114"/>
                    <a:pt x="139" y="115"/>
                    <a:pt x="188" y="107"/>
                  </a:cubicBezTo>
                  <a:cubicBezTo>
                    <a:pt x="219" y="102"/>
                    <a:pt x="244" y="91"/>
                    <a:pt x="257" y="76"/>
                  </a:cubicBezTo>
                  <a:cubicBezTo>
                    <a:pt x="178" y="76"/>
                    <a:pt x="178" y="76"/>
                    <a:pt x="178" y="76"/>
                  </a:cubicBezTo>
                  <a:cubicBezTo>
                    <a:pt x="168" y="84"/>
                    <a:pt x="155" y="88"/>
                    <a:pt x="139" y="88"/>
                  </a:cubicBezTo>
                  <a:cubicBezTo>
                    <a:pt x="95" y="88"/>
                    <a:pt x="89" y="75"/>
                    <a:pt x="97" y="59"/>
                  </a:cubicBezTo>
                  <a:cubicBezTo>
                    <a:pt x="106" y="41"/>
                    <a:pt x="125" y="31"/>
                    <a:pt x="154" y="30"/>
                  </a:cubicBezTo>
                  <a:cubicBezTo>
                    <a:pt x="178" y="30"/>
                    <a:pt x="189" y="35"/>
                    <a:pt x="195" y="4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Freeform 9"/>
            <p:cNvSpPr>
              <a:spLocks/>
            </p:cNvSpPr>
            <p:nvPr userDrawn="1"/>
          </p:nvSpPr>
          <p:spPr bwMode="auto">
            <a:xfrm>
              <a:off x="5004682" y="636506"/>
              <a:ext cx="503007" cy="240776"/>
            </a:xfrm>
            <a:custGeom>
              <a:avLst/>
              <a:gdLst>
                <a:gd name="T0" fmla="*/ 258 w 422"/>
                <a:gd name="T1" fmla="*/ 0 h 202"/>
                <a:gd name="T2" fmla="*/ 190 w 422"/>
                <a:gd name="T3" fmla="*/ 154 h 202"/>
                <a:gd name="T4" fmla="*/ 422 w 422"/>
                <a:gd name="T5" fmla="*/ 154 h 202"/>
                <a:gd name="T6" fmla="*/ 400 w 422"/>
                <a:gd name="T7" fmla="*/ 202 h 202"/>
                <a:gd name="T8" fmla="*/ 0 w 422"/>
                <a:gd name="T9" fmla="*/ 202 h 202"/>
                <a:gd name="T10" fmla="*/ 90 w 422"/>
                <a:gd name="T11" fmla="*/ 0 h 202"/>
                <a:gd name="T12" fmla="*/ 258 w 422"/>
                <a:gd name="T1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2" h="202">
                  <a:moveTo>
                    <a:pt x="258" y="0"/>
                  </a:moveTo>
                  <a:lnTo>
                    <a:pt x="190" y="154"/>
                  </a:lnTo>
                  <a:lnTo>
                    <a:pt x="422" y="154"/>
                  </a:lnTo>
                  <a:lnTo>
                    <a:pt x="400" y="202"/>
                  </a:lnTo>
                  <a:lnTo>
                    <a:pt x="0" y="202"/>
                  </a:lnTo>
                  <a:lnTo>
                    <a:pt x="90" y="0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3" name="Group 72"/>
          <p:cNvGrpSpPr/>
          <p:nvPr userDrawn="1"/>
        </p:nvGrpSpPr>
        <p:grpSpPr>
          <a:xfrm>
            <a:off x="3616727" y="2644563"/>
            <a:ext cx="4958550" cy="1061639"/>
            <a:chOff x="2697049" y="1983421"/>
            <a:chExt cx="3718913" cy="796229"/>
          </a:xfrm>
        </p:grpSpPr>
        <p:sp>
          <p:nvSpPr>
            <p:cNvPr id="74" name="Freeform 51"/>
            <p:cNvSpPr>
              <a:spLocks noEditPoints="1"/>
            </p:cNvSpPr>
            <p:nvPr userDrawn="1"/>
          </p:nvSpPr>
          <p:spPr bwMode="auto">
            <a:xfrm>
              <a:off x="3412224" y="2588936"/>
              <a:ext cx="83437" cy="112044"/>
            </a:xfrm>
            <a:custGeom>
              <a:avLst/>
              <a:gdLst>
                <a:gd name="T0" fmla="*/ 19 w 35"/>
                <a:gd name="T1" fmla="*/ 0 h 47"/>
                <a:gd name="T2" fmla="*/ 32 w 35"/>
                <a:gd name="T3" fmla="*/ 12 h 47"/>
                <a:gd name="T4" fmla="*/ 25 w 35"/>
                <a:gd name="T5" fmla="*/ 21 h 47"/>
                <a:gd name="T6" fmla="*/ 25 w 35"/>
                <a:gd name="T7" fmla="*/ 21 h 47"/>
                <a:gd name="T8" fmla="*/ 35 w 35"/>
                <a:gd name="T9" fmla="*/ 33 h 47"/>
                <a:gd name="T10" fmla="*/ 19 w 35"/>
                <a:gd name="T11" fmla="*/ 47 h 47"/>
                <a:gd name="T12" fmla="*/ 0 w 35"/>
                <a:gd name="T13" fmla="*/ 47 h 47"/>
                <a:gd name="T14" fmla="*/ 0 w 35"/>
                <a:gd name="T15" fmla="*/ 0 h 47"/>
                <a:gd name="T16" fmla="*/ 19 w 35"/>
                <a:gd name="T17" fmla="*/ 0 h 47"/>
                <a:gd name="T18" fmla="*/ 17 w 35"/>
                <a:gd name="T19" fmla="*/ 19 h 47"/>
                <a:gd name="T20" fmla="*/ 25 w 35"/>
                <a:gd name="T21" fmla="*/ 13 h 47"/>
                <a:gd name="T22" fmla="*/ 17 w 35"/>
                <a:gd name="T23" fmla="*/ 6 h 47"/>
                <a:gd name="T24" fmla="*/ 8 w 35"/>
                <a:gd name="T25" fmla="*/ 6 h 47"/>
                <a:gd name="T26" fmla="*/ 8 w 35"/>
                <a:gd name="T27" fmla="*/ 19 h 47"/>
                <a:gd name="T28" fmla="*/ 17 w 35"/>
                <a:gd name="T29" fmla="*/ 19 h 47"/>
                <a:gd name="T30" fmla="*/ 19 w 35"/>
                <a:gd name="T31" fmla="*/ 41 h 47"/>
                <a:gd name="T32" fmla="*/ 28 w 35"/>
                <a:gd name="T33" fmla="*/ 33 h 47"/>
                <a:gd name="T34" fmla="*/ 19 w 35"/>
                <a:gd name="T35" fmla="*/ 25 h 47"/>
                <a:gd name="T36" fmla="*/ 8 w 35"/>
                <a:gd name="T37" fmla="*/ 25 h 47"/>
                <a:gd name="T38" fmla="*/ 8 w 35"/>
                <a:gd name="T39" fmla="*/ 41 h 47"/>
                <a:gd name="T40" fmla="*/ 19 w 35"/>
                <a:gd name="T41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47">
                  <a:moveTo>
                    <a:pt x="19" y="0"/>
                  </a:moveTo>
                  <a:cubicBezTo>
                    <a:pt x="27" y="0"/>
                    <a:pt x="32" y="5"/>
                    <a:pt x="32" y="12"/>
                  </a:cubicBezTo>
                  <a:cubicBezTo>
                    <a:pt x="32" y="16"/>
                    <a:pt x="29" y="20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30" y="22"/>
                    <a:pt x="35" y="27"/>
                    <a:pt x="35" y="33"/>
                  </a:cubicBezTo>
                  <a:cubicBezTo>
                    <a:pt x="35" y="41"/>
                    <a:pt x="30" y="47"/>
                    <a:pt x="19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9" y="0"/>
                  </a:lnTo>
                  <a:close/>
                  <a:moveTo>
                    <a:pt x="17" y="19"/>
                  </a:moveTo>
                  <a:cubicBezTo>
                    <a:pt x="22" y="19"/>
                    <a:pt x="25" y="16"/>
                    <a:pt x="25" y="13"/>
                  </a:cubicBezTo>
                  <a:cubicBezTo>
                    <a:pt x="25" y="9"/>
                    <a:pt x="22" y="6"/>
                    <a:pt x="17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19"/>
                    <a:pt x="8" y="19"/>
                    <a:pt x="8" y="19"/>
                  </a:cubicBezTo>
                  <a:lnTo>
                    <a:pt x="17" y="19"/>
                  </a:lnTo>
                  <a:close/>
                  <a:moveTo>
                    <a:pt x="19" y="41"/>
                  </a:moveTo>
                  <a:cubicBezTo>
                    <a:pt x="24" y="41"/>
                    <a:pt x="28" y="37"/>
                    <a:pt x="28" y="33"/>
                  </a:cubicBezTo>
                  <a:cubicBezTo>
                    <a:pt x="28" y="28"/>
                    <a:pt x="24" y="25"/>
                    <a:pt x="19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41"/>
                    <a:pt x="8" y="41"/>
                    <a:pt x="8" y="41"/>
                  </a:cubicBezTo>
                  <a:lnTo>
                    <a:pt x="19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Freeform 52"/>
            <p:cNvSpPr>
              <a:spLocks/>
            </p:cNvSpPr>
            <p:nvPr userDrawn="1"/>
          </p:nvSpPr>
          <p:spPr bwMode="auto">
            <a:xfrm>
              <a:off x="3521884" y="2588936"/>
              <a:ext cx="78669" cy="112044"/>
            </a:xfrm>
            <a:custGeom>
              <a:avLst/>
              <a:gdLst>
                <a:gd name="T0" fmla="*/ 66 w 66"/>
                <a:gd name="T1" fmla="*/ 80 h 94"/>
                <a:gd name="T2" fmla="*/ 66 w 66"/>
                <a:gd name="T3" fmla="*/ 94 h 94"/>
                <a:gd name="T4" fmla="*/ 0 w 66"/>
                <a:gd name="T5" fmla="*/ 94 h 94"/>
                <a:gd name="T6" fmla="*/ 0 w 66"/>
                <a:gd name="T7" fmla="*/ 0 h 94"/>
                <a:gd name="T8" fmla="*/ 64 w 66"/>
                <a:gd name="T9" fmla="*/ 0 h 94"/>
                <a:gd name="T10" fmla="*/ 64 w 66"/>
                <a:gd name="T11" fmla="*/ 14 h 94"/>
                <a:gd name="T12" fmla="*/ 16 w 66"/>
                <a:gd name="T13" fmla="*/ 14 h 94"/>
                <a:gd name="T14" fmla="*/ 16 w 66"/>
                <a:gd name="T15" fmla="*/ 38 h 94"/>
                <a:gd name="T16" fmla="*/ 54 w 66"/>
                <a:gd name="T17" fmla="*/ 38 h 94"/>
                <a:gd name="T18" fmla="*/ 54 w 66"/>
                <a:gd name="T19" fmla="*/ 52 h 94"/>
                <a:gd name="T20" fmla="*/ 16 w 66"/>
                <a:gd name="T21" fmla="*/ 52 h 94"/>
                <a:gd name="T22" fmla="*/ 16 w 66"/>
                <a:gd name="T23" fmla="*/ 80 h 94"/>
                <a:gd name="T24" fmla="*/ 66 w 66"/>
                <a:gd name="T25" fmla="*/ 8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Freeform 53"/>
            <p:cNvSpPr>
              <a:spLocks/>
            </p:cNvSpPr>
            <p:nvPr userDrawn="1"/>
          </p:nvSpPr>
          <p:spPr bwMode="auto">
            <a:xfrm>
              <a:off x="3619625" y="2588936"/>
              <a:ext cx="102508" cy="112044"/>
            </a:xfrm>
            <a:custGeom>
              <a:avLst/>
              <a:gdLst>
                <a:gd name="T0" fmla="*/ 43 w 43"/>
                <a:gd name="T1" fmla="*/ 0 h 47"/>
                <a:gd name="T2" fmla="*/ 25 w 43"/>
                <a:gd name="T3" fmla="*/ 25 h 47"/>
                <a:gd name="T4" fmla="*/ 25 w 43"/>
                <a:gd name="T5" fmla="*/ 47 h 47"/>
                <a:gd name="T6" fmla="*/ 18 w 43"/>
                <a:gd name="T7" fmla="*/ 47 h 47"/>
                <a:gd name="T8" fmla="*/ 18 w 43"/>
                <a:gd name="T9" fmla="*/ 25 h 47"/>
                <a:gd name="T10" fmla="*/ 0 w 43"/>
                <a:gd name="T11" fmla="*/ 0 h 47"/>
                <a:gd name="T12" fmla="*/ 8 w 43"/>
                <a:gd name="T13" fmla="*/ 0 h 47"/>
                <a:gd name="T14" fmla="*/ 19 w 43"/>
                <a:gd name="T15" fmla="*/ 14 h 47"/>
                <a:gd name="T16" fmla="*/ 21 w 43"/>
                <a:gd name="T17" fmla="*/ 18 h 47"/>
                <a:gd name="T18" fmla="*/ 22 w 43"/>
                <a:gd name="T19" fmla="*/ 18 h 47"/>
                <a:gd name="T20" fmla="*/ 24 w 43"/>
                <a:gd name="T21" fmla="*/ 14 h 47"/>
                <a:gd name="T22" fmla="*/ 35 w 43"/>
                <a:gd name="T23" fmla="*/ 0 h 47"/>
                <a:gd name="T24" fmla="*/ 43 w 43"/>
                <a:gd name="T2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47">
                  <a:moveTo>
                    <a:pt x="43" y="0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6"/>
                    <a:pt x="21" y="18"/>
                    <a:pt x="21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3" y="16"/>
                    <a:pt x="24" y="14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Freeform 54"/>
            <p:cNvSpPr>
              <a:spLocks noEditPoints="1"/>
            </p:cNvSpPr>
            <p:nvPr userDrawn="1"/>
          </p:nvSpPr>
          <p:spPr bwMode="auto">
            <a:xfrm>
              <a:off x="3726901" y="2586552"/>
              <a:ext cx="114428" cy="116812"/>
            </a:xfrm>
            <a:custGeom>
              <a:avLst/>
              <a:gdLst>
                <a:gd name="T0" fmla="*/ 24 w 48"/>
                <a:gd name="T1" fmla="*/ 0 h 49"/>
                <a:gd name="T2" fmla="*/ 48 w 48"/>
                <a:gd name="T3" fmla="*/ 24 h 49"/>
                <a:gd name="T4" fmla="*/ 24 w 48"/>
                <a:gd name="T5" fmla="*/ 49 h 49"/>
                <a:gd name="T6" fmla="*/ 0 w 48"/>
                <a:gd name="T7" fmla="*/ 24 h 49"/>
                <a:gd name="T8" fmla="*/ 24 w 48"/>
                <a:gd name="T9" fmla="*/ 0 h 49"/>
                <a:gd name="T10" fmla="*/ 24 w 48"/>
                <a:gd name="T11" fmla="*/ 41 h 49"/>
                <a:gd name="T12" fmla="*/ 41 w 48"/>
                <a:gd name="T13" fmla="*/ 24 h 49"/>
                <a:gd name="T14" fmla="*/ 24 w 48"/>
                <a:gd name="T15" fmla="*/ 7 h 49"/>
                <a:gd name="T16" fmla="*/ 7 w 48"/>
                <a:gd name="T17" fmla="*/ 24 h 49"/>
                <a:gd name="T18" fmla="*/ 24 w 48"/>
                <a:gd name="T1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9">
                  <a:moveTo>
                    <a:pt x="24" y="0"/>
                  </a:moveTo>
                  <a:cubicBezTo>
                    <a:pt x="37" y="0"/>
                    <a:pt x="48" y="10"/>
                    <a:pt x="48" y="24"/>
                  </a:cubicBezTo>
                  <a:cubicBezTo>
                    <a:pt x="48" y="39"/>
                    <a:pt x="37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3867553" y="2588936"/>
              <a:ext cx="92973" cy="112044"/>
            </a:xfrm>
            <a:custGeom>
              <a:avLst/>
              <a:gdLst>
                <a:gd name="T0" fmla="*/ 39 w 39"/>
                <a:gd name="T1" fmla="*/ 0 h 47"/>
                <a:gd name="T2" fmla="*/ 39 w 39"/>
                <a:gd name="T3" fmla="*/ 47 h 47"/>
                <a:gd name="T4" fmla="*/ 32 w 39"/>
                <a:gd name="T5" fmla="*/ 47 h 47"/>
                <a:gd name="T6" fmla="*/ 15 w 39"/>
                <a:gd name="T7" fmla="*/ 24 h 47"/>
                <a:gd name="T8" fmla="*/ 7 w 39"/>
                <a:gd name="T9" fmla="*/ 12 h 47"/>
                <a:gd name="T10" fmla="*/ 7 w 39"/>
                <a:gd name="T11" fmla="*/ 12 h 47"/>
                <a:gd name="T12" fmla="*/ 7 w 39"/>
                <a:gd name="T13" fmla="*/ 27 h 47"/>
                <a:gd name="T14" fmla="*/ 7 w 39"/>
                <a:gd name="T15" fmla="*/ 47 h 47"/>
                <a:gd name="T16" fmla="*/ 0 w 39"/>
                <a:gd name="T17" fmla="*/ 47 h 47"/>
                <a:gd name="T18" fmla="*/ 0 w 39"/>
                <a:gd name="T19" fmla="*/ 0 h 47"/>
                <a:gd name="T20" fmla="*/ 7 w 39"/>
                <a:gd name="T21" fmla="*/ 0 h 47"/>
                <a:gd name="T22" fmla="*/ 24 w 39"/>
                <a:gd name="T23" fmla="*/ 23 h 47"/>
                <a:gd name="T24" fmla="*/ 32 w 39"/>
                <a:gd name="T25" fmla="*/ 34 h 47"/>
                <a:gd name="T26" fmla="*/ 32 w 39"/>
                <a:gd name="T27" fmla="*/ 34 h 47"/>
                <a:gd name="T28" fmla="*/ 32 w 39"/>
                <a:gd name="T29" fmla="*/ 20 h 47"/>
                <a:gd name="T30" fmla="*/ 32 w 39"/>
                <a:gd name="T31" fmla="*/ 0 h 47"/>
                <a:gd name="T32" fmla="*/ 39 w 39"/>
                <a:gd name="T3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47">
                  <a:moveTo>
                    <a:pt x="39" y="0"/>
                  </a:moveTo>
                  <a:cubicBezTo>
                    <a:pt x="39" y="47"/>
                    <a:pt x="39" y="47"/>
                    <a:pt x="39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1" y="18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9"/>
                    <a:pt x="7" y="2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7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Freeform 56"/>
            <p:cNvSpPr>
              <a:spLocks noEditPoints="1"/>
            </p:cNvSpPr>
            <p:nvPr userDrawn="1"/>
          </p:nvSpPr>
          <p:spPr bwMode="auto">
            <a:xfrm>
              <a:off x="3996284" y="2588936"/>
              <a:ext cx="104892" cy="112044"/>
            </a:xfrm>
            <a:custGeom>
              <a:avLst/>
              <a:gdLst>
                <a:gd name="T0" fmla="*/ 20 w 44"/>
                <a:gd name="T1" fmla="*/ 0 h 47"/>
                <a:gd name="T2" fmla="*/ 44 w 44"/>
                <a:gd name="T3" fmla="*/ 24 h 47"/>
                <a:gd name="T4" fmla="*/ 20 w 44"/>
                <a:gd name="T5" fmla="*/ 47 h 47"/>
                <a:gd name="T6" fmla="*/ 0 w 44"/>
                <a:gd name="T7" fmla="*/ 47 h 47"/>
                <a:gd name="T8" fmla="*/ 0 w 44"/>
                <a:gd name="T9" fmla="*/ 0 h 47"/>
                <a:gd name="T10" fmla="*/ 20 w 44"/>
                <a:gd name="T11" fmla="*/ 0 h 47"/>
                <a:gd name="T12" fmla="*/ 20 w 44"/>
                <a:gd name="T13" fmla="*/ 40 h 47"/>
                <a:gd name="T14" fmla="*/ 36 w 44"/>
                <a:gd name="T15" fmla="*/ 24 h 47"/>
                <a:gd name="T16" fmla="*/ 20 w 44"/>
                <a:gd name="T17" fmla="*/ 7 h 47"/>
                <a:gd name="T18" fmla="*/ 7 w 44"/>
                <a:gd name="T19" fmla="*/ 7 h 47"/>
                <a:gd name="T20" fmla="*/ 7 w 44"/>
                <a:gd name="T21" fmla="*/ 40 h 47"/>
                <a:gd name="T22" fmla="*/ 20 w 44"/>
                <a:gd name="T23" fmla="*/ 4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" h="47">
                  <a:moveTo>
                    <a:pt x="20" y="0"/>
                  </a:moveTo>
                  <a:cubicBezTo>
                    <a:pt x="33" y="0"/>
                    <a:pt x="44" y="10"/>
                    <a:pt x="44" y="24"/>
                  </a:cubicBezTo>
                  <a:cubicBezTo>
                    <a:pt x="44" y="38"/>
                    <a:pt x="33" y="47"/>
                    <a:pt x="20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0" y="0"/>
                  </a:lnTo>
                  <a:close/>
                  <a:moveTo>
                    <a:pt x="20" y="40"/>
                  </a:moveTo>
                  <a:cubicBezTo>
                    <a:pt x="29" y="40"/>
                    <a:pt x="36" y="34"/>
                    <a:pt x="36" y="24"/>
                  </a:cubicBezTo>
                  <a:cubicBezTo>
                    <a:pt x="36" y="13"/>
                    <a:pt x="29" y="7"/>
                    <a:pt x="20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40"/>
                    <a:pt x="7" y="40"/>
                    <a:pt x="7" y="40"/>
                  </a:cubicBezTo>
                  <a:lnTo>
                    <a:pt x="20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4163158" y="2588936"/>
              <a:ext cx="88205" cy="112044"/>
            </a:xfrm>
            <a:custGeom>
              <a:avLst/>
              <a:gdLst>
                <a:gd name="T0" fmla="*/ 74 w 74"/>
                <a:gd name="T1" fmla="*/ 0 h 94"/>
                <a:gd name="T2" fmla="*/ 74 w 74"/>
                <a:gd name="T3" fmla="*/ 14 h 94"/>
                <a:gd name="T4" fmla="*/ 44 w 74"/>
                <a:gd name="T5" fmla="*/ 14 h 94"/>
                <a:gd name="T6" fmla="*/ 44 w 74"/>
                <a:gd name="T7" fmla="*/ 94 h 94"/>
                <a:gd name="T8" fmla="*/ 30 w 74"/>
                <a:gd name="T9" fmla="*/ 94 h 94"/>
                <a:gd name="T10" fmla="*/ 30 w 74"/>
                <a:gd name="T11" fmla="*/ 14 h 94"/>
                <a:gd name="T12" fmla="*/ 0 w 74"/>
                <a:gd name="T13" fmla="*/ 14 h 94"/>
                <a:gd name="T14" fmla="*/ 0 w 74"/>
                <a:gd name="T15" fmla="*/ 0 h 94"/>
                <a:gd name="T16" fmla="*/ 74 w 74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" h="94">
                  <a:moveTo>
                    <a:pt x="74" y="0"/>
                  </a:moveTo>
                  <a:lnTo>
                    <a:pt x="74" y="14"/>
                  </a:lnTo>
                  <a:lnTo>
                    <a:pt x="44" y="14"/>
                  </a:lnTo>
                  <a:lnTo>
                    <a:pt x="44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4275203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94 h 94"/>
                <a:gd name="T4" fmla="*/ 60 w 76"/>
                <a:gd name="T5" fmla="*/ 94 h 94"/>
                <a:gd name="T6" fmla="*/ 60 w 76"/>
                <a:gd name="T7" fmla="*/ 52 h 94"/>
                <a:gd name="T8" fmla="*/ 16 w 76"/>
                <a:gd name="T9" fmla="*/ 52 h 94"/>
                <a:gd name="T10" fmla="*/ 16 w 76"/>
                <a:gd name="T11" fmla="*/ 94 h 94"/>
                <a:gd name="T12" fmla="*/ 0 w 76"/>
                <a:gd name="T13" fmla="*/ 94 h 94"/>
                <a:gd name="T14" fmla="*/ 0 w 76"/>
                <a:gd name="T15" fmla="*/ 0 h 94"/>
                <a:gd name="T16" fmla="*/ 16 w 76"/>
                <a:gd name="T17" fmla="*/ 0 h 94"/>
                <a:gd name="T18" fmla="*/ 16 w 76"/>
                <a:gd name="T19" fmla="*/ 38 h 94"/>
                <a:gd name="T20" fmla="*/ 60 w 76"/>
                <a:gd name="T21" fmla="*/ 38 h 94"/>
                <a:gd name="T22" fmla="*/ 60 w 76"/>
                <a:gd name="T23" fmla="*/ 0 h 94"/>
                <a:gd name="T24" fmla="*/ 76 w 76"/>
                <a:gd name="T2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94"/>
                  </a:lnTo>
                  <a:lnTo>
                    <a:pt x="60" y="94"/>
                  </a:lnTo>
                  <a:lnTo>
                    <a:pt x="60" y="52"/>
                  </a:lnTo>
                  <a:lnTo>
                    <a:pt x="16" y="52"/>
                  </a:lnTo>
                  <a:lnTo>
                    <a:pt x="1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38"/>
                  </a:lnTo>
                  <a:lnTo>
                    <a:pt x="60" y="38"/>
                  </a:lnTo>
                  <a:lnTo>
                    <a:pt x="6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Freeform 59"/>
            <p:cNvSpPr>
              <a:spLocks/>
            </p:cNvSpPr>
            <p:nvPr userDrawn="1"/>
          </p:nvSpPr>
          <p:spPr bwMode="auto">
            <a:xfrm>
              <a:off x="4399166" y="2588936"/>
              <a:ext cx="78669" cy="112044"/>
            </a:xfrm>
            <a:custGeom>
              <a:avLst/>
              <a:gdLst>
                <a:gd name="T0" fmla="*/ 66 w 66"/>
                <a:gd name="T1" fmla="*/ 80 h 94"/>
                <a:gd name="T2" fmla="*/ 66 w 66"/>
                <a:gd name="T3" fmla="*/ 94 h 94"/>
                <a:gd name="T4" fmla="*/ 0 w 66"/>
                <a:gd name="T5" fmla="*/ 94 h 94"/>
                <a:gd name="T6" fmla="*/ 0 w 66"/>
                <a:gd name="T7" fmla="*/ 0 h 94"/>
                <a:gd name="T8" fmla="*/ 64 w 66"/>
                <a:gd name="T9" fmla="*/ 0 h 94"/>
                <a:gd name="T10" fmla="*/ 64 w 66"/>
                <a:gd name="T11" fmla="*/ 14 h 94"/>
                <a:gd name="T12" fmla="*/ 16 w 66"/>
                <a:gd name="T13" fmla="*/ 14 h 94"/>
                <a:gd name="T14" fmla="*/ 16 w 66"/>
                <a:gd name="T15" fmla="*/ 38 h 94"/>
                <a:gd name="T16" fmla="*/ 54 w 66"/>
                <a:gd name="T17" fmla="*/ 38 h 94"/>
                <a:gd name="T18" fmla="*/ 54 w 66"/>
                <a:gd name="T19" fmla="*/ 52 h 94"/>
                <a:gd name="T20" fmla="*/ 16 w 66"/>
                <a:gd name="T21" fmla="*/ 52 h 94"/>
                <a:gd name="T22" fmla="*/ 16 w 66"/>
                <a:gd name="T23" fmla="*/ 80 h 94"/>
                <a:gd name="T24" fmla="*/ 66 w 66"/>
                <a:gd name="T25" fmla="*/ 8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94">
                  <a:moveTo>
                    <a:pt x="66" y="80"/>
                  </a:moveTo>
                  <a:lnTo>
                    <a:pt x="66" y="94"/>
                  </a:lnTo>
                  <a:lnTo>
                    <a:pt x="0" y="94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4"/>
                  </a:lnTo>
                  <a:lnTo>
                    <a:pt x="16" y="14"/>
                  </a:lnTo>
                  <a:lnTo>
                    <a:pt x="16" y="38"/>
                  </a:lnTo>
                  <a:lnTo>
                    <a:pt x="54" y="38"/>
                  </a:lnTo>
                  <a:lnTo>
                    <a:pt x="54" y="52"/>
                  </a:lnTo>
                  <a:lnTo>
                    <a:pt x="16" y="52"/>
                  </a:lnTo>
                  <a:lnTo>
                    <a:pt x="16" y="80"/>
                  </a:lnTo>
                  <a:lnTo>
                    <a:pt x="66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Freeform 60"/>
            <p:cNvSpPr>
              <a:spLocks/>
            </p:cNvSpPr>
            <p:nvPr userDrawn="1"/>
          </p:nvSpPr>
          <p:spPr bwMode="auto">
            <a:xfrm>
              <a:off x="4546969" y="2586552"/>
              <a:ext cx="109660" cy="116812"/>
            </a:xfrm>
            <a:custGeom>
              <a:avLst/>
              <a:gdLst>
                <a:gd name="T0" fmla="*/ 38 w 46"/>
                <a:gd name="T1" fmla="*/ 14 h 49"/>
                <a:gd name="T2" fmla="*/ 24 w 46"/>
                <a:gd name="T3" fmla="*/ 7 h 49"/>
                <a:gd name="T4" fmla="*/ 7 w 46"/>
                <a:gd name="T5" fmla="*/ 24 h 49"/>
                <a:gd name="T6" fmla="*/ 24 w 46"/>
                <a:gd name="T7" fmla="*/ 41 h 49"/>
                <a:gd name="T8" fmla="*/ 39 w 46"/>
                <a:gd name="T9" fmla="*/ 33 h 49"/>
                <a:gd name="T10" fmla="*/ 46 w 46"/>
                <a:gd name="T11" fmla="*/ 35 h 49"/>
                <a:gd name="T12" fmla="*/ 24 w 46"/>
                <a:gd name="T13" fmla="*/ 49 h 49"/>
                <a:gd name="T14" fmla="*/ 0 w 46"/>
                <a:gd name="T15" fmla="*/ 24 h 49"/>
                <a:gd name="T16" fmla="*/ 24 w 46"/>
                <a:gd name="T17" fmla="*/ 0 h 49"/>
                <a:gd name="T18" fmla="*/ 45 w 46"/>
                <a:gd name="T19" fmla="*/ 12 h 49"/>
                <a:gd name="T20" fmla="*/ 38 w 46"/>
                <a:gd name="T21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9">
                  <a:moveTo>
                    <a:pt x="38" y="14"/>
                  </a:moveTo>
                  <a:cubicBezTo>
                    <a:pt x="35" y="10"/>
                    <a:pt x="30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5" y="41"/>
                    <a:pt x="24" y="41"/>
                  </a:cubicBezTo>
                  <a:cubicBezTo>
                    <a:pt x="30" y="41"/>
                    <a:pt x="36" y="38"/>
                    <a:pt x="39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4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8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Freeform 61"/>
            <p:cNvSpPr>
              <a:spLocks noEditPoints="1"/>
            </p:cNvSpPr>
            <p:nvPr userDrawn="1"/>
          </p:nvSpPr>
          <p:spPr bwMode="auto">
            <a:xfrm>
              <a:off x="4673317" y="2586552"/>
              <a:ext cx="116812" cy="116812"/>
            </a:xfrm>
            <a:custGeom>
              <a:avLst/>
              <a:gdLst>
                <a:gd name="T0" fmla="*/ 24 w 49"/>
                <a:gd name="T1" fmla="*/ 0 h 49"/>
                <a:gd name="T2" fmla="*/ 49 w 49"/>
                <a:gd name="T3" fmla="*/ 24 h 49"/>
                <a:gd name="T4" fmla="*/ 24 w 49"/>
                <a:gd name="T5" fmla="*/ 49 h 49"/>
                <a:gd name="T6" fmla="*/ 0 w 49"/>
                <a:gd name="T7" fmla="*/ 24 h 49"/>
                <a:gd name="T8" fmla="*/ 24 w 49"/>
                <a:gd name="T9" fmla="*/ 0 h 49"/>
                <a:gd name="T10" fmla="*/ 24 w 49"/>
                <a:gd name="T11" fmla="*/ 41 h 49"/>
                <a:gd name="T12" fmla="*/ 41 w 49"/>
                <a:gd name="T13" fmla="*/ 24 h 49"/>
                <a:gd name="T14" fmla="*/ 24 w 49"/>
                <a:gd name="T15" fmla="*/ 7 h 49"/>
                <a:gd name="T16" fmla="*/ 8 w 49"/>
                <a:gd name="T17" fmla="*/ 24 h 49"/>
                <a:gd name="T18" fmla="*/ 24 w 49"/>
                <a:gd name="T1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49">
                  <a:moveTo>
                    <a:pt x="24" y="0"/>
                  </a:moveTo>
                  <a:cubicBezTo>
                    <a:pt x="38" y="0"/>
                    <a:pt x="49" y="10"/>
                    <a:pt x="49" y="24"/>
                  </a:cubicBezTo>
                  <a:cubicBezTo>
                    <a:pt x="49" y="39"/>
                    <a:pt x="38" y="49"/>
                    <a:pt x="24" y="49"/>
                  </a:cubicBezTo>
                  <a:cubicBezTo>
                    <a:pt x="11" y="49"/>
                    <a:pt x="0" y="39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moveTo>
                    <a:pt x="24" y="41"/>
                  </a:moveTo>
                  <a:cubicBezTo>
                    <a:pt x="34" y="41"/>
                    <a:pt x="41" y="35"/>
                    <a:pt x="41" y="24"/>
                  </a:cubicBezTo>
                  <a:cubicBezTo>
                    <a:pt x="41" y="14"/>
                    <a:pt x="34" y="7"/>
                    <a:pt x="24" y="7"/>
                  </a:cubicBezTo>
                  <a:cubicBezTo>
                    <a:pt x="15" y="7"/>
                    <a:pt x="8" y="14"/>
                    <a:pt x="8" y="24"/>
                  </a:cubicBezTo>
                  <a:cubicBezTo>
                    <a:pt x="8" y="35"/>
                    <a:pt x="15" y="41"/>
                    <a:pt x="24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Freeform 62"/>
            <p:cNvSpPr>
              <a:spLocks/>
            </p:cNvSpPr>
            <p:nvPr userDrawn="1"/>
          </p:nvSpPr>
          <p:spPr bwMode="auto">
            <a:xfrm>
              <a:off x="4813968" y="2588936"/>
              <a:ext cx="95357" cy="112044"/>
            </a:xfrm>
            <a:custGeom>
              <a:avLst/>
              <a:gdLst>
                <a:gd name="T0" fmla="*/ 40 w 40"/>
                <a:gd name="T1" fmla="*/ 0 h 47"/>
                <a:gd name="T2" fmla="*/ 40 w 40"/>
                <a:gd name="T3" fmla="*/ 47 h 47"/>
                <a:gd name="T4" fmla="*/ 33 w 40"/>
                <a:gd name="T5" fmla="*/ 47 h 47"/>
                <a:gd name="T6" fmla="*/ 16 w 40"/>
                <a:gd name="T7" fmla="*/ 24 h 47"/>
                <a:gd name="T8" fmla="*/ 8 w 40"/>
                <a:gd name="T9" fmla="*/ 12 h 47"/>
                <a:gd name="T10" fmla="*/ 7 w 40"/>
                <a:gd name="T11" fmla="*/ 12 h 47"/>
                <a:gd name="T12" fmla="*/ 8 w 40"/>
                <a:gd name="T13" fmla="*/ 27 h 47"/>
                <a:gd name="T14" fmla="*/ 8 w 40"/>
                <a:gd name="T15" fmla="*/ 47 h 47"/>
                <a:gd name="T16" fmla="*/ 0 w 40"/>
                <a:gd name="T17" fmla="*/ 47 h 47"/>
                <a:gd name="T18" fmla="*/ 0 w 40"/>
                <a:gd name="T19" fmla="*/ 0 h 47"/>
                <a:gd name="T20" fmla="*/ 7 w 40"/>
                <a:gd name="T21" fmla="*/ 0 h 47"/>
                <a:gd name="T22" fmla="*/ 24 w 40"/>
                <a:gd name="T23" fmla="*/ 23 h 47"/>
                <a:gd name="T24" fmla="*/ 32 w 40"/>
                <a:gd name="T25" fmla="*/ 34 h 47"/>
                <a:gd name="T26" fmla="*/ 32 w 40"/>
                <a:gd name="T27" fmla="*/ 34 h 47"/>
                <a:gd name="T28" fmla="*/ 32 w 40"/>
                <a:gd name="T29" fmla="*/ 20 h 47"/>
                <a:gd name="T30" fmla="*/ 32 w 40"/>
                <a:gd name="T31" fmla="*/ 0 h 47"/>
                <a:gd name="T32" fmla="*/ 40 w 40"/>
                <a:gd name="T3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47">
                  <a:moveTo>
                    <a:pt x="40" y="0"/>
                  </a:moveTo>
                  <a:cubicBezTo>
                    <a:pt x="40" y="47"/>
                    <a:pt x="40" y="47"/>
                    <a:pt x="40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2" y="18"/>
                    <a:pt x="8" y="12"/>
                    <a:pt x="8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8" y="19"/>
                    <a:pt x="8" y="2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8" y="28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27"/>
                    <a:pt x="32" y="2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4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Freeform 63"/>
            <p:cNvSpPr>
              <a:spLocks/>
            </p:cNvSpPr>
            <p:nvPr userDrawn="1"/>
          </p:nvSpPr>
          <p:spPr bwMode="auto">
            <a:xfrm>
              <a:off x="4930780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14 h 94"/>
                <a:gd name="T4" fmla="*/ 46 w 76"/>
                <a:gd name="T5" fmla="*/ 14 h 94"/>
                <a:gd name="T6" fmla="*/ 46 w 76"/>
                <a:gd name="T7" fmla="*/ 94 h 94"/>
                <a:gd name="T8" fmla="*/ 32 w 76"/>
                <a:gd name="T9" fmla="*/ 94 h 94"/>
                <a:gd name="T10" fmla="*/ 32 w 76"/>
                <a:gd name="T11" fmla="*/ 14 h 94"/>
                <a:gd name="T12" fmla="*/ 0 w 76"/>
                <a:gd name="T13" fmla="*/ 14 h 94"/>
                <a:gd name="T14" fmla="*/ 0 w 76"/>
                <a:gd name="T15" fmla="*/ 0 h 94"/>
                <a:gd name="T16" fmla="*/ 76 w 76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2" y="94"/>
                  </a:lnTo>
                  <a:lnTo>
                    <a:pt x="32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 64"/>
            <p:cNvSpPr>
              <a:spLocks noEditPoints="1"/>
            </p:cNvSpPr>
            <p:nvPr userDrawn="1"/>
          </p:nvSpPr>
          <p:spPr bwMode="auto">
            <a:xfrm>
              <a:off x="5045208" y="2588936"/>
              <a:ext cx="83437" cy="112044"/>
            </a:xfrm>
            <a:custGeom>
              <a:avLst/>
              <a:gdLst>
                <a:gd name="T0" fmla="*/ 26 w 35"/>
                <a:gd name="T1" fmla="*/ 47 h 47"/>
                <a:gd name="T2" fmla="*/ 17 w 35"/>
                <a:gd name="T3" fmla="*/ 30 h 47"/>
                <a:gd name="T4" fmla="*/ 15 w 35"/>
                <a:gd name="T5" fmla="*/ 30 h 47"/>
                <a:gd name="T6" fmla="*/ 7 w 35"/>
                <a:gd name="T7" fmla="*/ 30 h 47"/>
                <a:gd name="T8" fmla="*/ 7 w 35"/>
                <a:gd name="T9" fmla="*/ 47 h 47"/>
                <a:gd name="T10" fmla="*/ 0 w 35"/>
                <a:gd name="T11" fmla="*/ 47 h 47"/>
                <a:gd name="T12" fmla="*/ 0 w 35"/>
                <a:gd name="T13" fmla="*/ 0 h 47"/>
                <a:gd name="T14" fmla="*/ 15 w 35"/>
                <a:gd name="T15" fmla="*/ 0 h 47"/>
                <a:gd name="T16" fmla="*/ 33 w 35"/>
                <a:gd name="T17" fmla="*/ 15 h 47"/>
                <a:gd name="T18" fmla="*/ 24 w 35"/>
                <a:gd name="T19" fmla="*/ 29 h 47"/>
                <a:gd name="T20" fmla="*/ 35 w 35"/>
                <a:gd name="T21" fmla="*/ 47 h 47"/>
                <a:gd name="T22" fmla="*/ 26 w 35"/>
                <a:gd name="T23" fmla="*/ 47 h 47"/>
                <a:gd name="T24" fmla="*/ 16 w 35"/>
                <a:gd name="T25" fmla="*/ 24 h 47"/>
                <a:gd name="T26" fmla="*/ 25 w 35"/>
                <a:gd name="T27" fmla="*/ 15 h 47"/>
                <a:gd name="T28" fmla="*/ 16 w 35"/>
                <a:gd name="T29" fmla="*/ 7 h 47"/>
                <a:gd name="T30" fmla="*/ 7 w 35"/>
                <a:gd name="T31" fmla="*/ 7 h 47"/>
                <a:gd name="T32" fmla="*/ 7 w 35"/>
                <a:gd name="T33" fmla="*/ 24 h 47"/>
                <a:gd name="T34" fmla="*/ 16 w 35"/>
                <a:gd name="T35" fmla="*/ 2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7">
                  <a:moveTo>
                    <a:pt x="26" y="47"/>
                  </a:moveTo>
                  <a:cubicBezTo>
                    <a:pt x="17" y="30"/>
                    <a:pt x="17" y="30"/>
                    <a:pt x="17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6" y="0"/>
                    <a:pt x="33" y="6"/>
                    <a:pt x="33" y="15"/>
                  </a:cubicBezTo>
                  <a:cubicBezTo>
                    <a:pt x="33" y="22"/>
                    <a:pt x="30" y="26"/>
                    <a:pt x="24" y="29"/>
                  </a:cubicBezTo>
                  <a:cubicBezTo>
                    <a:pt x="35" y="47"/>
                    <a:pt x="35" y="47"/>
                    <a:pt x="35" y="47"/>
                  </a:cubicBezTo>
                  <a:lnTo>
                    <a:pt x="26" y="47"/>
                  </a:lnTo>
                  <a:close/>
                  <a:moveTo>
                    <a:pt x="16" y="24"/>
                  </a:moveTo>
                  <a:cubicBezTo>
                    <a:pt x="22" y="24"/>
                    <a:pt x="25" y="20"/>
                    <a:pt x="25" y="15"/>
                  </a:cubicBezTo>
                  <a:cubicBezTo>
                    <a:pt x="25" y="10"/>
                    <a:pt x="22" y="7"/>
                    <a:pt x="1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24"/>
                    <a:pt x="7" y="24"/>
                    <a:pt x="7" y="24"/>
                  </a:cubicBezTo>
                  <a:lnTo>
                    <a:pt x="16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 65"/>
            <p:cNvSpPr>
              <a:spLocks noEditPoints="1"/>
            </p:cNvSpPr>
            <p:nvPr userDrawn="1"/>
          </p:nvSpPr>
          <p:spPr bwMode="auto">
            <a:xfrm>
              <a:off x="5142949" y="2588936"/>
              <a:ext cx="109660" cy="112044"/>
            </a:xfrm>
            <a:custGeom>
              <a:avLst/>
              <a:gdLst>
                <a:gd name="T0" fmla="*/ 34 w 46"/>
                <a:gd name="T1" fmla="*/ 36 h 47"/>
                <a:gd name="T2" fmla="*/ 12 w 46"/>
                <a:gd name="T3" fmla="*/ 36 h 47"/>
                <a:gd name="T4" fmla="*/ 8 w 46"/>
                <a:gd name="T5" fmla="*/ 47 h 47"/>
                <a:gd name="T6" fmla="*/ 0 w 46"/>
                <a:gd name="T7" fmla="*/ 47 h 47"/>
                <a:gd name="T8" fmla="*/ 20 w 46"/>
                <a:gd name="T9" fmla="*/ 0 h 47"/>
                <a:gd name="T10" fmla="*/ 26 w 46"/>
                <a:gd name="T11" fmla="*/ 0 h 47"/>
                <a:gd name="T12" fmla="*/ 46 w 46"/>
                <a:gd name="T13" fmla="*/ 47 h 47"/>
                <a:gd name="T14" fmla="*/ 38 w 46"/>
                <a:gd name="T15" fmla="*/ 47 h 47"/>
                <a:gd name="T16" fmla="*/ 34 w 46"/>
                <a:gd name="T17" fmla="*/ 36 h 47"/>
                <a:gd name="T18" fmla="*/ 31 w 46"/>
                <a:gd name="T19" fmla="*/ 30 h 47"/>
                <a:gd name="T20" fmla="*/ 25 w 46"/>
                <a:gd name="T21" fmla="*/ 15 h 47"/>
                <a:gd name="T22" fmla="*/ 23 w 46"/>
                <a:gd name="T23" fmla="*/ 9 h 47"/>
                <a:gd name="T24" fmla="*/ 23 w 46"/>
                <a:gd name="T25" fmla="*/ 9 h 47"/>
                <a:gd name="T26" fmla="*/ 21 w 46"/>
                <a:gd name="T27" fmla="*/ 15 h 47"/>
                <a:gd name="T28" fmla="*/ 15 w 46"/>
                <a:gd name="T29" fmla="*/ 30 h 47"/>
                <a:gd name="T30" fmla="*/ 31 w 46"/>
                <a:gd name="T31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" h="47">
                  <a:moveTo>
                    <a:pt x="34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38" y="47"/>
                    <a:pt x="38" y="47"/>
                    <a:pt x="38" y="47"/>
                  </a:cubicBezTo>
                  <a:lnTo>
                    <a:pt x="34" y="36"/>
                  </a:lnTo>
                  <a:close/>
                  <a:moveTo>
                    <a:pt x="31" y="30"/>
                  </a:moveTo>
                  <a:cubicBezTo>
                    <a:pt x="25" y="15"/>
                    <a:pt x="25" y="15"/>
                    <a:pt x="25" y="15"/>
                  </a:cubicBezTo>
                  <a:cubicBezTo>
                    <a:pt x="24" y="13"/>
                    <a:pt x="23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2" y="13"/>
                    <a:pt x="21" y="15"/>
                  </a:cubicBezTo>
                  <a:cubicBezTo>
                    <a:pt x="15" y="30"/>
                    <a:pt x="15" y="30"/>
                    <a:pt x="15" y="30"/>
                  </a:cubicBezTo>
                  <a:lnTo>
                    <a:pt x="31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 66"/>
            <p:cNvSpPr>
              <a:spLocks/>
            </p:cNvSpPr>
            <p:nvPr userDrawn="1"/>
          </p:nvSpPr>
          <p:spPr bwMode="auto">
            <a:xfrm>
              <a:off x="5262145" y="2586552"/>
              <a:ext cx="109660" cy="116812"/>
            </a:xfrm>
            <a:custGeom>
              <a:avLst/>
              <a:gdLst>
                <a:gd name="T0" fmla="*/ 37 w 46"/>
                <a:gd name="T1" fmla="*/ 14 h 49"/>
                <a:gd name="T2" fmla="*/ 24 w 46"/>
                <a:gd name="T3" fmla="*/ 7 h 49"/>
                <a:gd name="T4" fmla="*/ 7 w 46"/>
                <a:gd name="T5" fmla="*/ 24 h 49"/>
                <a:gd name="T6" fmla="*/ 24 w 46"/>
                <a:gd name="T7" fmla="*/ 41 h 49"/>
                <a:gd name="T8" fmla="*/ 38 w 46"/>
                <a:gd name="T9" fmla="*/ 33 h 49"/>
                <a:gd name="T10" fmla="*/ 46 w 46"/>
                <a:gd name="T11" fmla="*/ 35 h 49"/>
                <a:gd name="T12" fmla="*/ 24 w 46"/>
                <a:gd name="T13" fmla="*/ 49 h 49"/>
                <a:gd name="T14" fmla="*/ 0 w 46"/>
                <a:gd name="T15" fmla="*/ 24 h 49"/>
                <a:gd name="T16" fmla="*/ 24 w 46"/>
                <a:gd name="T17" fmla="*/ 0 h 49"/>
                <a:gd name="T18" fmla="*/ 45 w 46"/>
                <a:gd name="T19" fmla="*/ 12 h 49"/>
                <a:gd name="T20" fmla="*/ 37 w 46"/>
                <a:gd name="T21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49">
                  <a:moveTo>
                    <a:pt x="37" y="14"/>
                  </a:moveTo>
                  <a:cubicBezTo>
                    <a:pt x="35" y="10"/>
                    <a:pt x="29" y="7"/>
                    <a:pt x="24" y="7"/>
                  </a:cubicBezTo>
                  <a:cubicBezTo>
                    <a:pt x="14" y="7"/>
                    <a:pt x="7" y="14"/>
                    <a:pt x="7" y="24"/>
                  </a:cubicBezTo>
                  <a:cubicBezTo>
                    <a:pt x="7" y="35"/>
                    <a:pt x="14" y="41"/>
                    <a:pt x="24" y="41"/>
                  </a:cubicBezTo>
                  <a:cubicBezTo>
                    <a:pt x="30" y="41"/>
                    <a:pt x="36" y="38"/>
                    <a:pt x="38" y="3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2" y="43"/>
                    <a:pt x="33" y="49"/>
                    <a:pt x="24" y="49"/>
                  </a:cubicBezTo>
                  <a:cubicBezTo>
                    <a:pt x="10" y="49"/>
                    <a:pt x="0" y="39"/>
                    <a:pt x="0" y="24"/>
                  </a:cubicBezTo>
                  <a:cubicBezTo>
                    <a:pt x="0" y="10"/>
                    <a:pt x="10" y="0"/>
                    <a:pt x="24" y="0"/>
                  </a:cubicBezTo>
                  <a:cubicBezTo>
                    <a:pt x="33" y="0"/>
                    <a:pt x="41" y="5"/>
                    <a:pt x="45" y="12"/>
                  </a:cubicBezTo>
                  <a:lnTo>
                    <a:pt x="37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67"/>
            <p:cNvSpPr>
              <a:spLocks/>
            </p:cNvSpPr>
            <p:nvPr userDrawn="1"/>
          </p:nvSpPr>
          <p:spPr bwMode="auto">
            <a:xfrm>
              <a:off x="5383725" y="2588936"/>
              <a:ext cx="90589" cy="112044"/>
            </a:xfrm>
            <a:custGeom>
              <a:avLst/>
              <a:gdLst>
                <a:gd name="T0" fmla="*/ 76 w 76"/>
                <a:gd name="T1" fmla="*/ 0 h 94"/>
                <a:gd name="T2" fmla="*/ 76 w 76"/>
                <a:gd name="T3" fmla="*/ 14 h 94"/>
                <a:gd name="T4" fmla="*/ 46 w 76"/>
                <a:gd name="T5" fmla="*/ 14 h 94"/>
                <a:gd name="T6" fmla="*/ 46 w 76"/>
                <a:gd name="T7" fmla="*/ 94 h 94"/>
                <a:gd name="T8" fmla="*/ 30 w 76"/>
                <a:gd name="T9" fmla="*/ 94 h 94"/>
                <a:gd name="T10" fmla="*/ 30 w 76"/>
                <a:gd name="T11" fmla="*/ 14 h 94"/>
                <a:gd name="T12" fmla="*/ 0 w 76"/>
                <a:gd name="T13" fmla="*/ 14 h 94"/>
                <a:gd name="T14" fmla="*/ 0 w 76"/>
                <a:gd name="T15" fmla="*/ 0 h 94"/>
                <a:gd name="T16" fmla="*/ 76 w 76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94">
                  <a:moveTo>
                    <a:pt x="76" y="0"/>
                  </a:moveTo>
                  <a:lnTo>
                    <a:pt x="76" y="14"/>
                  </a:lnTo>
                  <a:lnTo>
                    <a:pt x="46" y="14"/>
                  </a:lnTo>
                  <a:lnTo>
                    <a:pt x="46" y="94"/>
                  </a:lnTo>
                  <a:lnTo>
                    <a:pt x="30" y="94"/>
                  </a:lnTo>
                  <a:lnTo>
                    <a:pt x="3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68"/>
            <p:cNvSpPr>
              <a:spLocks/>
            </p:cNvSpPr>
            <p:nvPr userDrawn="1"/>
          </p:nvSpPr>
          <p:spPr bwMode="auto">
            <a:xfrm>
              <a:off x="4444461" y="2100233"/>
              <a:ext cx="45294" cy="66750"/>
            </a:xfrm>
            <a:custGeom>
              <a:avLst/>
              <a:gdLst>
                <a:gd name="T0" fmla="*/ 17 w 19"/>
                <a:gd name="T1" fmla="*/ 13 h 28"/>
                <a:gd name="T2" fmla="*/ 5 w 19"/>
                <a:gd name="T3" fmla="*/ 9 h 28"/>
                <a:gd name="T4" fmla="*/ 8 w 19"/>
                <a:gd name="T5" fmla="*/ 25 h 28"/>
                <a:gd name="T6" fmla="*/ 13 w 19"/>
                <a:gd name="T7" fmla="*/ 26 h 28"/>
                <a:gd name="T8" fmla="*/ 14 w 19"/>
                <a:gd name="T9" fmla="*/ 21 h 28"/>
                <a:gd name="T10" fmla="*/ 17 w 19"/>
                <a:gd name="T11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17" y="13"/>
                  </a:moveTo>
                  <a:cubicBezTo>
                    <a:pt x="17" y="13"/>
                    <a:pt x="12" y="0"/>
                    <a:pt x="5" y="9"/>
                  </a:cubicBezTo>
                  <a:cubicBezTo>
                    <a:pt x="5" y="9"/>
                    <a:pt x="0" y="13"/>
                    <a:pt x="8" y="25"/>
                  </a:cubicBezTo>
                  <a:cubicBezTo>
                    <a:pt x="8" y="25"/>
                    <a:pt x="10" y="28"/>
                    <a:pt x="13" y="26"/>
                  </a:cubicBezTo>
                  <a:cubicBezTo>
                    <a:pt x="13" y="26"/>
                    <a:pt x="16" y="26"/>
                    <a:pt x="14" y="21"/>
                  </a:cubicBezTo>
                  <a:cubicBezTo>
                    <a:pt x="14" y="21"/>
                    <a:pt x="19" y="21"/>
                    <a:pt x="17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69"/>
            <p:cNvSpPr>
              <a:spLocks/>
            </p:cNvSpPr>
            <p:nvPr userDrawn="1"/>
          </p:nvSpPr>
          <p:spPr bwMode="auto">
            <a:xfrm>
              <a:off x="5884348" y="2088313"/>
              <a:ext cx="45294" cy="64366"/>
            </a:xfrm>
            <a:custGeom>
              <a:avLst/>
              <a:gdLst>
                <a:gd name="T0" fmla="*/ 16 w 19"/>
                <a:gd name="T1" fmla="*/ 12 h 27"/>
                <a:gd name="T2" fmla="*/ 4 w 19"/>
                <a:gd name="T3" fmla="*/ 8 h 27"/>
                <a:gd name="T4" fmla="*/ 8 w 19"/>
                <a:gd name="T5" fmla="*/ 24 h 27"/>
                <a:gd name="T6" fmla="*/ 12 w 19"/>
                <a:gd name="T7" fmla="*/ 26 h 27"/>
                <a:gd name="T8" fmla="*/ 14 w 19"/>
                <a:gd name="T9" fmla="*/ 21 h 27"/>
                <a:gd name="T10" fmla="*/ 16 w 19"/>
                <a:gd name="T11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7">
                  <a:moveTo>
                    <a:pt x="16" y="12"/>
                  </a:moveTo>
                  <a:cubicBezTo>
                    <a:pt x="16" y="12"/>
                    <a:pt x="12" y="0"/>
                    <a:pt x="4" y="8"/>
                  </a:cubicBezTo>
                  <a:cubicBezTo>
                    <a:pt x="4" y="8"/>
                    <a:pt x="0" y="12"/>
                    <a:pt x="8" y="24"/>
                  </a:cubicBezTo>
                  <a:cubicBezTo>
                    <a:pt x="8" y="24"/>
                    <a:pt x="10" y="27"/>
                    <a:pt x="12" y="26"/>
                  </a:cubicBezTo>
                  <a:cubicBezTo>
                    <a:pt x="12" y="26"/>
                    <a:pt x="16" y="25"/>
                    <a:pt x="14" y="21"/>
                  </a:cubicBezTo>
                  <a:cubicBezTo>
                    <a:pt x="14" y="21"/>
                    <a:pt x="19" y="20"/>
                    <a:pt x="16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 70"/>
            <p:cNvSpPr>
              <a:spLocks noEditPoints="1"/>
            </p:cNvSpPr>
            <p:nvPr userDrawn="1"/>
          </p:nvSpPr>
          <p:spPr bwMode="auto">
            <a:xfrm>
              <a:off x="2697049" y="2076393"/>
              <a:ext cx="1022701" cy="488703"/>
            </a:xfrm>
            <a:custGeom>
              <a:avLst/>
              <a:gdLst>
                <a:gd name="T0" fmla="*/ 406 w 429"/>
                <a:gd name="T1" fmla="*/ 144 h 205"/>
                <a:gd name="T2" fmla="*/ 377 w 429"/>
                <a:gd name="T3" fmla="*/ 95 h 205"/>
                <a:gd name="T4" fmla="*/ 429 w 429"/>
                <a:gd name="T5" fmla="*/ 20 h 205"/>
                <a:gd name="T6" fmla="*/ 397 w 429"/>
                <a:gd name="T7" fmla="*/ 31 h 205"/>
                <a:gd name="T8" fmla="*/ 368 w 429"/>
                <a:gd name="T9" fmla="*/ 93 h 205"/>
                <a:gd name="T10" fmla="*/ 275 w 429"/>
                <a:gd name="T11" fmla="*/ 150 h 205"/>
                <a:gd name="T12" fmla="*/ 235 w 429"/>
                <a:gd name="T13" fmla="*/ 134 h 205"/>
                <a:gd name="T14" fmla="*/ 253 w 429"/>
                <a:gd name="T15" fmla="*/ 122 h 205"/>
                <a:gd name="T16" fmla="*/ 259 w 429"/>
                <a:gd name="T17" fmla="*/ 105 h 205"/>
                <a:gd name="T18" fmla="*/ 228 w 429"/>
                <a:gd name="T19" fmla="*/ 123 h 205"/>
                <a:gd name="T20" fmla="*/ 228 w 429"/>
                <a:gd name="T21" fmla="*/ 130 h 205"/>
                <a:gd name="T22" fmla="*/ 183 w 429"/>
                <a:gd name="T23" fmla="*/ 143 h 205"/>
                <a:gd name="T24" fmla="*/ 79 w 429"/>
                <a:gd name="T25" fmla="*/ 102 h 205"/>
                <a:gd name="T26" fmla="*/ 132 w 429"/>
                <a:gd name="T27" fmla="*/ 47 h 205"/>
                <a:gd name="T28" fmla="*/ 121 w 429"/>
                <a:gd name="T29" fmla="*/ 29 h 205"/>
                <a:gd name="T30" fmla="*/ 17 w 429"/>
                <a:gd name="T31" fmla="*/ 143 h 205"/>
                <a:gd name="T32" fmla="*/ 23 w 429"/>
                <a:gd name="T33" fmla="*/ 198 h 205"/>
                <a:gd name="T34" fmla="*/ 64 w 429"/>
                <a:gd name="T35" fmla="*/ 117 h 205"/>
                <a:gd name="T36" fmla="*/ 69 w 429"/>
                <a:gd name="T37" fmla="*/ 108 h 205"/>
                <a:gd name="T38" fmla="*/ 99 w 429"/>
                <a:gd name="T39" fmla="*/ 130 h 205"/>
                <a:gd name="T40" fmla="*/ 227 w 429"/>
                <a:gd name="T41" fmla="*/ 138 h 205"/>
                <a:gd name="T42" fmla="*/ 307 w 429"/>
                <a:gd name="T43" fmla="*/ 145 h 205"/>
                <a:gd name="T44" fmla="*/ 368 w 429"/>
                <a:gd name="T45" fmla="*/ 102 h 205"/>
                <a:gd name="T46" fmla="*/ 379 w 429"/>
                <a:gd name="T47" fmla="*/ 136 h 205"/>
                <a:gd name="T48" fmla="*/ 404 w 429"/>
                <a:gd name="T49" fmla="*/ 150 h 205"/>
                <a:gd name="T50" fmla="*/ 406 w 429"/>
                <a:gd name="T51" fmla="*/ 144 h 205"/>
                <a:gd name="T52" fmla="*/ 380 w 429"/>
                <a:gd name="T53" fmla="*/ 76 h 205"/>
                <a:gd name="T54" fmla="*/ 417 w 429"/>
                <a:gd name="T55" fmla="*/ 23 h 205"/>
                <a:gd name="T56" fmla="*/ 410 w 429"/>
                <a:gd name="T57" fmla="*/ 47 h 205"/>
                <a:gd name="T58" fmla="*/ 378 w 429"/>
                <a:gd name="T59" fmla="*/ 84 h 205"/>
                <a:gd name="T60" fmla="*/ 380 w 429"/>
                <a:gd name="T61" fmla="*/ 76 h 205"/>
                <a:gd name="T62" fmla="*/ 237 w 429"/>
                <a:gd name="T63" fmla="*/ 123 h 205"/>
                <a:gd name="T64" fmla="*/ 253 w 429"/>
                <a:gd name="T65" fmla="*/ 111 h 205"/>
                <a:gd name="T66" fmla="*/ 236 w 429"/>
                <a:gd name="T67" fmla="*/ 125 h 205"/>
                <a:gd name="T68" fmla="*/ 237 w 429"/>
                <a:gd name="T69" fmla="*/ 123 h 205"/>
                <a:gd name="T70" fmla="*/ 69 w 429"/>
                <a:gd name="T71" fmla="*/ 95 h 205"/>
                <a:gd name="T72" fmla="*/ 60 w 429"/>
                <a:gd name="T73" fmla="*/ 88 h 205"/>
                <a:gd name="T74" fmla="*/ 58 w 429"/>
                <a:gd name="T75" fmla="*/ 97 h 205"/>
                <a:gd name="T76" fmla="*/ 57 w 429"/>
                <a:gd name="T77" fmla="*/ 112 h 205"/>
                <a:gd name="T78" fmla="*/ 57 w 429"/>
                <a:gd name="T79" fmla="*/ 112 h 205"/>
                <a:gd name="T80" fmla="*/ 31 w 429"/>
                <a:gd name="T81" fmla="*/ 181 h 205"/>
                <a:gd name="T82" fmla="*/ 22 w 429"/>
                <a:gd name="T83" fmla="*/ 187 h 205"/>
                <a:gd name="T84" fmla="*/ 25 w 429"/>
                <a:gd name="T85" fmla="*/ 149 h 205"/>
                <a:gd name="T86" fmla="*/ 110 w 429"/>
                <a:gd name="T87" fmla="*/ 40 h 205"/>
                <a:gd name="T88" fmla="*/ 122 w 429"/>
                <a:gd name="T89" fmla="*/ 49 h 205"/>
                <a:gd name="T90" fmla="*/ 69 w 429"/>
                <a:gd name="T91" fmla="*/ 9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29" h="205">
                  <a:moveTo>
                    <a:pt x="406" y="144"/>
                  </a:moveTo>
                  <a:cubicBezTo>
                    <a:pt x="379" y="136"/>
                    <a:pt x="375" y="112"/>
                    <a:pt x="377" y="95"/>
                  </a:cubicBezTo>
                  <a:cubicBezTo>
                    <a:pt x="424" y="52"/>
                    <a:pt x="429" y="20"/>
                    <a:pt x="429" y="20"/>
                  </a:cubicBezTo>
                  <a:cubicBezTo>
                    <a:pt x="426" y="0"/>
                    <a:pt x="397" y="31"/>
                    <a:pt x="397" y="31"/>
                  </a:cubicBezTo>
                  <a:cubicBezTo>
                    <a:pt x="377" y="56"/>
                    <a:pt x="370" y="77"/>
                    <a:pt x="368" y="93"/>
                  </a:cubicBezTo>
                  <a:cubicBezTo>
                    <a:pt x="318" y="141"/>
                    <a:pt x="275" y="150"/>
                    <a:pt x="275" y="150"/>
                  </a:cubicBezTo>
                  <a:cubicBezTo>
                    <a:pt x="253" y="157"/>
                    <a:pt x="237" y="147"/>
                    <a:pt x="235" y="134"/>
                  </a:cubicBezTo>
                  <a:cubicBezTo>
                    <a:pt x="247" y="128"/>
                    <a:pt x="253" y="122"/>
                    <a:pt x="253" y="122"/>
                  </a:cubicBezTo>
                  <a:cubicBezTo>
                    <a:pt x="267" y="112"/>
                    <a:pt x="259" y="105"/>
                    <a:pt x="259" y="105"/>
                  </a:cubicBezTo>
                  <a:cubicBezTo>
                    <a:pt x="240" y="87"/>
                    <a:pt x="228" y="123"/>
                    <a:pt x="228" y="123"/>
                  </a:cubicBezTo>
                  <a:cubicBezTo>
                    <a:pt x="228" y="126"/>
                    <a:pt x="228" y="128"/>
                    <a:pt x="228" y="130"/>
                  </a:cubicBezTo>
                  <a:cubicBezTo>
                    <a:pt x="204" y="142"/>
                    <a:pt x="183" y="143"/>
                    <a:pt x="183" y="143"/>
                  </a:cubicBezTo>
                  <a:cubicBezTo>
                    <a:pt x="113" y="141"/>
                    <a:pt x="79" y="102"/>
                    <a:pt x="79" y="102"/>
                  </a:cubicBezTo>
                  <a:cubicBezTo>
                    <a:pt x="117" y="82"/>
                    <a:pt x="132" y="47"/>
                    <a:pt x="132" y="47"/>
                  </a:cubicBezTo>
                  <a:cubicBezTo>
                    <a:pt x="138" y="28"/>
                    <a:pt x="121" y="29"/>
                    <a:pt x="121" y="29"/>
                  </a:cubicBezTo>
                  <a:cubicBezTo>
                    <a:pt x="59" y="36"/>
                    <a:pt x="17" y="143"/>
                    <a:pt x="17" y="143"/>
                  </a:cubicBezTo>
                  <a:cubicBezTo>
                    <a:pt x="0" y="191"/>
                    <a:pt x="23" y="198"/>
                    <a:pt x="23" y="198"/>
                  </a:cubicBezTo>
                  <a:cubicBezTo>
                    <a:pt x="42" y="205"/>
                    <a:pt x="64" y="117"/>
                    <a:pt x="64" y="117"/>
                  </a:cubicBezTo>
                  <a:cubicBezTo>
                    <a:pt x="65" y="105"/>
                    <a:pt x="69" y="108"/>
                    <a:pt x="69" y="108"/>
                  </a:cubicBezTo>
                  <a:cubicBezTo>
                    <a:pt x="71" y="113"/>
                    <a:pt x="99" y="130"/>
                    <a:pt x="99" y="130"/>
                  </a:cubicBezTo>
                  <a:cubicBezTo>
                    <a:pt x="157" y="160"/>
                    <a:pt x="202" y="150"/>
                    <a:pt x="227" y="138"/>
                  </a:cubicBezTo>
                  <a:cubicBezTo>
                    <a:pt x="231" y="184"/>
                    <a:pt x="307" y="145"/>
                    <a:pt x="307" y="145"/>
                  </a:cubicBezTo>
                  <a:cubicBezTo>
                    <a:pt x="332" y="130"/>
                    <a:pt x="352" y="116"/>
                    <a:pt x="368" y="102"/>
                  </a:cubicBezTo>
                  <a:cubicBezTo>
                    <a:pt x="369" y="123"/>
                    <a:pt x="379" y="136"/>
                    <a:pt x="379" y="136"/>
                  </a:cubicBezTo>
                  <a:cubicBezTo>
                    <a:pt x="396" y="154"/>
                    <a:pt x="404" y="150"/>
                    <a:pt x="404" y="150"/>
                  </a:cubicBezTo>
                  <a:cubicBezTo>
                    <a:pt x="410" y="146"/>
                    <a:pt x="406" y="144"/>
                    <a:pt x="406" y="144"/>
                  </a:cubicBezTo>
                  <a:moveTo>
                    <a:pt x="380" y="76"/>
                  </a:moveTo>
                  <a:cubicBezTo>
                    <a:pt x="402" y="28"/>
                    <a:pt x="417" y="23"/>
                    <a:pt x="417" y="23"/>
                  </a:cubicBezTo>
                  <a:cubicBezTo>
                    <a:pt x="428" y="19"/>
                    <a:pt x="410" y="47"/>
                    <a:pt x="410" y="47"/>
                  </a:cubicBezTo>
                  <a:cubicBezTo>
                    <a:pt x="399" y="61"/>
                    <a:pt x="389" y="73"/>
                    <a:pt x="378" y="84"/>
                  </a:cubicBezTo>
                  <a:cubicBezTo>
                    <a:pt x="379" y="79"/>
                    <a:pt x="380" y="76"/>
                    <a:pt x="380" y="76"/>
                  </a:cubicBezTo>
                  <a:moveTo>
                    <a:pt x="237" y="123"/>
                  </a:moveTo>
                  <a:cubicBezTo>
                    <a:pt x="246" y="106"/>
                    <a:pt x="253" y="111"/>
                    <a:pt x="253" y="111"/>
                  </a:cubicBezTo>
                  <a:cubicBezTo>
                    <a:pt x="248" y="116"/>
                    <a:pt x="242" y="121"/>
                    <a:pt x="236" y="125"/>
                  </a:cubicBezTo>
                  <a:cubicBezTo>
                    <a:pt x="237" y="124"/>
                    <a:pt x="237" y="123"/>
                    <a:pt x="237" y="123"/>
                  </a:cubicBezTo>
                  <a:moveTo>
                    <a:pt x="69" y="95"/>
                  </a:moveTo>
                  <a:cubicBezTo>
                    <a:pt x="69" y="95"/>
                    <a:pt x="72" y="79"/>
                    <a:pt x="60" y="88"/>
                  </a:cubicBezTo>
                  <a:cubicBezTo>
                    <a:pt x="60" y="88"/>
                    <a:pt x="54" y="91"/>
                    <a:pt x="58" y="97"/>
                  </a:cubicBezTo>
                  <a:cubicBezTo>
                    <a:pt x="58" y="97"/>
                    <a:pt x="48" y="97"/>
                    <a:pt x="57" y="112"/>
                  </a:cubicBezTo>
                  <a:cubicBezTo>
                    <a:pt x="57" y="112"/>
                    <a:pt x="57" y="112"/>
                    <a:pt x="57" y="112"/>
                  </a:cubicBezTo>
                  <a:cubicBezTo>
                    <a:pt x="57" y="112"/>
                    <a:pt x="45" y="156"/>
                    <a:pt x="31" y="181"/>
                  </a:cubicBezTo>
                  <a:cubicBezTo>
                    <a:pt x="31" y="181"/>
                    <a:pt x="25" y="194"/>
                    <a:pt x="22" y="187"/>
                  </a:cubicBezTo>
                  <a:cubicBezTo>
                    <a:pt x="22" y="187"/>
                    <a:pt x="17" y="177"/>
                    <a:pt x="25" y="149"/>
                  </a:cubicBezTo>
                  <a:cubicBezTo>
                    <a:pt x="25" y="149"/>
                    <a:pt x="51" y="59"/>
                    <a:pt x="110" y="40"/>
                  </a:cubicBezTo>
                  <a:cubicBezTo>
                    <a:pt x="110" y="40"/>
                    <a:pt x="133" y="31"/>
                    <a:pt x="122" y="49"/>
                  </a:cubicBezTo>
                  <a:cubicBezTo>
                    <a:pt x="122" y="49"/>
                    <a:pt x="95" y="93"/>
                    <a:pt x="69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Freeform 71"/>
            <p:cNvSpPr>
              <a:spLocks noEditPoints="1"/>
            </p:cNvSpPr>
            <p:nvPr userDrawn="1"/>
          </p:nvSpPr>
          <p:spPr bwMode="auto">
            <a:xfrm>
              <a:off x="3686375" y="2112152"/>
              <a:ext cx="1399360" cy="407650"/>
            </a:xfrm>
            <a:custGeom>
              <a:avLst/>
              <a:gdLst>
                <a:gd name="T0" fmla="*/ 518 w 587"/>
                <a:gd name="T1" fmla="*/ 69 h 171"/>
                <a:gd name="T2" fmla="*/ 511 w 587"/>
                <a:gd name="T3" fmla="*/ 62 h 171"/>
                <a:gd name="T4" fmla="*/ 432 w 587"/>
                <a:gd name="T5" fmla="*/ 47 h 171"/>
                <a:gd name="T6" fmla="*/ 407 w 587"/>
                <a:gd name="T7" fmla="*/ 45 h 171"/>
                <a:gd name="T8" fmla="*/ 395 w 587"/>
                <a:gd name="T9" fmla="*/ 52 h 171"/>
                <a:gd name="T10" fmla="*/ 407 w 587"/>
                <a:gd name="T11" fmla="*/ 57 h 171"/>
                <a:gd name="T12" fmla="*/ 441 w 587"/>
                <a:gd name="T13" fmla="*/ 71 h 171"/>
                <a:gd name="T14" fmla="*/ 407 w 587"/>
                <a:gd name="T15" fmla="*/ 89 h 171"/>
                <a:gd name="T16" fmla="*/ 380 w 587"/>
                <a:gd name="T17" fmla="*/ 79 h 171"/>
                <a:gd name="T18" fmla="*/ 381 w 587"/>
                <a:gd name="T19" fmla="*/ 69 h 171"/>
                <a:gd name="T20" fmla="*/ 377 w 587"/>
                <a:gd name="T21" fmla="*/ 63 h 171"/>
                <a:gd name="T22" fmla="*/ 370 w 587"/>
                <a:gd name="T23" fmla="*/ 67 h 171"/>
                <a:gd name="T24" fmla="*/ 297 w 587"/>
                <a:gd name="T25" fmla="*/ 89 h 171"/>
                <a:gd name="T26" fmla="*/ 289 w 587"/>
                <a:gd name="T27" fmla="*/ 61 h 171"/>
                <a:gd name="T28" fmla="*/ 290 w 587"/>
                <a:gd name="T29" fmla="*/ 46 h 171"/>
                <a:gd name="T30" fmla="*/ 285 w 587"/>
                <a:gd name="T31" fmla="*/ 53 h 171"/>
                <a:gd name="T32" fmla="*/ 201 w 587"/>
                <a:gd name="T33" fmla="*/ 107 h 171"/>
                <a:gd name="T34" fmla="*/ 199 w 587"/>
                <a:gd name="T35" fmla="*/ 66 h 171"/>
                <a:gd name="T36" fmla="*/ 232 w 587"/>
                <a:gd name="T37" fmla="*/ 31 h 171"/>
                <a:gd name="T38" fmla="*/ 279 w 587"/>
                <a:gd name="T39" fmla="*/ 6 h 171"/>
                <a:gd name="T40" fmla="*/ 281 w 587"/>
                <a:gd name="T41" fmla="*/ 2 h 171"/>
                <a:gd name="T42" fmla="*/ 281 w 587"/>
                <a:gd name="T43" fmla="*/ 2 h 171"/>
                <a:gd name="T44" fmla="*/ 272 w 587"/>
                <a:gd name="T45" fmla="*/ 2 h 171"/>
                <a:gd name="T46" fmla="*/ 233 w 587"/>
                <a:gd name="T47" fmla="*/ 21 h 171"/>
                <a:gd name="T48" fmla="*/ 227 w 587"/>
                <a:gd name="T49" fmla="*/ 9 h 171"/>
                <a:gd name="T50" fmla="*/ 195 w 587"/>
                <a:gd name="T51" fmla="*/ 55 h 171"/>
                <a:gd name="T52" fmla="*/ 100 w 587"/>
                <a:gd name="T53" fmla="*/ 116 h 171"/>
                <a:gd name="T54" fmla="*/ 88 w 587"/>
                <a:gd name="T55" fmla="*/ 83 h 171"/>
                <a:gd name="T56" fmla="*/ 83 w 587"/>
                <a:gd name="T57" fmla="*/ 79 h 171"/>
                <a:gd name="T58" fmla="*/ 73 w 587"/>
                <a:gd name="T59" fmla="*/ 86 h 171"/>
                <a:gd name="T60" fmla="*/ 58 w 587"/>
                <a:gd name="T61" fmla="*/ 101 h 171"/>
                <a:gd name="T62" fmla="*/ 62 w 587"/>
                <a:gd name="T63" fmla="*/ 65 h 171"/>
                <a:gd name="T64" fmla="*/ 17 w 587"/>
                <a:gd name="T65" fmla="*/ 87 h 171"/>
                <a:gd name="T66" fmla="*/ 14 w 587"/>
                <a:gd name="T67" fmla="*/ 123 h 171"/>
                <a:gd name="T68" fmla="*/ 79 w 587"/>
                <a:gd name="T69" fmla="*/ 91 h 171"/>
                <a:gd name="T70" fmla="*/ 81 w 587"/>
                <a:gd name="T71" fmla="*/ 90 h 171"/>
                <a:gd name="T72" fmla="*/ 119 w 587"/>
                <a:gd name="T73" fmla="*/ 122 h 171"/>
                <a:gd name="T74" fmla="*/ 184 w 587"/>
                <a:gd name="T75" fmla="*/ 77 h 171"/>
                <a:gd name="T76" fmla="*/ 277 w 587"/>
                <a:gd name="T77" fmla="*/ 72 h 171"/>
                <a:gd name="T78" fmla="*/ 332 w 587"/>
                <a:gd name="T79" fmla="*/ 97 h 171"/>
                <a:gd name="T80" fmla="*/ 371 w 587"/>
                <a:gd name="T81" fmla="*/ 78 h 171"/>
                <a:gd name="T82" fmla="*/ 412 w 587"/>
                <a:gd name="T83" fmla="*/ 99 h 171"/>
                <a:gd name="T84" fmla="*/ 446 w 587"/>
                <a:gd name="T85" fmla="*/ 80 h 171"/>
                <a:gd name="T86" fmla="*/ 437 w 587"/>
                <a:gd name="T87" fmla="*/ 56 h 171"/>
                <a:gd name="T88" fmla="*/ 506 w 587"/>
                <a:gd name="T89" fmla="*/ 77 h 171"/>
                <a:gd name="T90" fmla="*/ 502 w 587"/>
                <a:gd name="T91" fmla="*/ 98 h 171"/>
                <a:gd name="T92" fmla="*/ 519 w 587"/>
                <a:gd name="T93" fmla="*/ 77 h 171"/>
                <a:gd name="T94" fmla="*/ 564 w 587"/>
                <a:gd name="T95" fmla="*/ 59 h 171"/>
                <a:gd name="T96" fmla="*/ 560 w 587"/>
                <a:gd name="T97" fmla="*/ 84 h 171"/>
                <a:gd name="T98" fmla="*/ 556 w 587"/>
                <a:gd name="T99" fmla="*/ 98 h 171"/>
                <a:gd name="T100" fmla="*/ 573 w 587"/>
                <a:gd name="T101" fmla="*/ 51 h 171"/>
                <a:gd name="T102" fmla="*/ 518 w 587"/>
                <a:gd name="T103" fmla="*/ 69 h 171"/>
                <a:gd name="T104" fmla="*/ 20 w 587"/>
                <a:gd name="T105" fmla="*/ 105 h 171"/>
                <a:gd name="T106" fmla="*/ 45 w 587"/>
                <a:gd name="T107" fmla="*/ 73 h 171"/>
                <a:gd name="T108" fmla="*/ 49 w 587"/>
                <a:gd name="T109" fmla="*/ 105 h 171"/>
                <a:gd name="T110" fmla="*/ 20 w 587"/>
                <a:gd name="T111" fmla="*/ 105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7" h="171">
                  <a:moveTo>
                    <a:pt x="518" y="69"/>
                  </a:moveTo>
                  <a:cubicBezTo>
                    <a:pt x="518" y="69"/>
                    <a:pt x="516" y="71"/>
                    <a:pt x="511" y="62"/>
                  </a:cubicBezTo>
                  <a:cubicBezTo>
                    <a:pt x="511" y="62"/>
                    <a:pt x="500" y="42"/>
                    <a:pt x="432" y="47"/>
                  </a:cubicBezTo>
                  <a:cubicBezTo>
                    <a:pt x="432" y="47"/>
                    <a:pt x="418" y="47"/>
                    <a:pt x="407" y="45"/>
                  </a:cubicBezTo>
                  <a:cubicBezTo>
                    <a:pt x="407" y="45"/>
                    <a:pt x="396" y="43"/>
                    <a:pt x="395" y="52"/>
                  </a:cubicBezTo>
                  <a:cubicBezTo>
                    <a:pt x="395" y="52"/>
                    <a:pt x="394" y="57"/>
                    <a:pt x="407" y="57"/>
                  </a:cubicBezTo>
                  <a:cubicBezTo>
                    <a:pt x="407" y="57"/>
                    <a:pt x="440" y="52"/>
                    <a:pt x="441" y="71"/>
                  </a:cubicBezTo>
                  <a:cubicBezTo>
                    <a:pt x="441" y="71"/>
                    <a:pt x="441" y="87"/>
                    <a:pt x="407" y="89"/>
                  </a:cubicBezTo>
                  <a:cubicBezTo>
                    <a:pt x="407" y="89"/>
                    <a:pt x="385" y="90"/>
                    <a:pt x="380" y="79"/>
                  </a:cubicBezTo>
                  <a:cubicBezTo>
                    <a:pt x="380" y="79"/>
                    <a:pt x="379" y="77"/>
                    <a:pt x="381" y="69"/>
                  </a:cubicBezTo>
                  <a:cubicBezTo>
                    <a:pt x="381" y="69"/>
                    <a:pt x="383" y="63"/>
                    <a:pt x="377" y="63"/>
                  </a:cubicBezTo>
                  <a:cubicBezTo>
                    <a:pt x="377" y="63"/>
                    <a:pt x="373" y="60"/>
                    <a:pt x="370" y="67"/>
                  </a:cubicBezTo>
                  <a:cubicBezTo>
                    <a:pt x="370" y="67"/>
                    <a:pt x="330" y="99"/>
                    <a:pt x="297" y="89"/>
                  </a:cubicBezTo>
                  <a:cubicBezTo>
                    <a:pt x="297" y="89"/>
                    <a:pt x="281" y="84"/>
                    <a:pt x="289" y="61"/>
                  </a:cubicBezTo>
                  <a:cubicBezTo>
                    <a:pt x="289" y="61"/>
                    <a:pt x="298" y="46"/>
                    <a:pt x="290" y="46"/>
                  </a:cubicBezTo>
                  <a:cubicBezTo>
                    <a:pt x="290" y="46"/>
                    <a:pt x="286" y="45"/>
                    <a:pt x="285" y="53"/>
                  </a:cubicBezTo>
                  <a:cubicBezTo>
                    <a:pt x="285" y="53"/>
                    <a:pt x="243" y="106"/>
                    <a:pt x="201" y="107"/>
                  </a:cubicBezTo>
                  <a:cubicBezTo>
                    <a:pt x="201" y="107"/>
                    <a:pt x="177" y="110"/>
                    <a:pt x="199" y="66"/>
                  </a:cubicBezTo>
                  <a:cubicBezTo>
                    <a:pt x="199" y="66"/>
                    <a:pt x="212" y="43"/>
                    <a:pt x="232" y="31"/>
                  </a:cubicBezTo>
                  <a:cubicBezTo>
                    <a:pt x="232" y="31"/>
                    <a:pt x="278" y="7"/>
                    <a:pt x="279" y="6"/>
                  </a:cubicBezTo>
                  <a:cubicBezTo>
                    <a:pt x="280" y="5"/>
                    <a:pt x="283" y="4"/>
                    <a:pt x="281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2"/>
                    <a:pt x="277" y="0"/>
                    <a:pt x="272" y="2"/>
                  </a:cubicBezTo>
                  <a:cubicBezTo>
                    <a:pt x="233" y="21"/>
                    <a:pt x="233" y="21"/>
                    <a:pt x="233" y="21"/>
                  </a:cubicBezTo>
                  <a:cubicBezTo>
                    <a:pt x="233" y="21"/>
                    <a:pt x="238" y="4"/>
                    <a:pt x="227" y="9"/>
                  </a:cubicBezTo>
                  <a:cubicBezTo>
                    <a:pt x="227" y="9"/>
                    <a:pt x="212" y="22"/>
                    <a:pt x="195" y="55"/>
                  </a:cubicBezTo>
                  <a:cubicBezTo>
                    <a:pt x="195" y="55"/>
                    <a:pt x="131" y="120"/>
                    <a:pt x="100" y="116"/>
                  </a:cubicBezTo>
                  <a:cubicBezTo>
                    <a:pt x="100" y="116"/>
                    <a:pt x="80" y="117"/>
                    <a:pt x="88" y="83"/>
                  </a:cubicBezTo>
                  <a:cubicBezTo>
                    <a:pt x="88" y="83"/>
                    <a:pt x="89" y="80"/>
                    <a:pt x="83" y="79"/>
                  </a:cubicBezTo>
                  <a:cubicBezTo>
                    <a:pt x="83" y="79"/>
                    <a:pt x="79" y="77"/>
                    <a:pt x="73" y="86"/>
                  </a:cubicBezTo>
                  <a:cubicBezTo>
                    <a:pt x="73" y="86"/>
                    <a:pt x="69" y="94"/>
                    <a:pt x="58" y="101"/>
                  </a:cubicBezTo>
                  <a:cubicBezTo>
                    <a:pt x="58" y="101"/>
                    <a:pt x="77" y="79"/>
                    <a:pt x="62" y="65"/>
                  </a:cubicBezTo>
                  <a:cubicBezTo>
                    <a:pt x="62" y="65"/>
                    <a:pt x="44" y="49"/>
                    <a:pt x="17" y="87"/>
                  </a:cubicBezTo>
                  <a:cubicBezTo>
                    <a:pt x="17" y="87"/>
                    <a:pt x="0" y="113"/>
                    <a:pt x="14" y="123"/>
                  </a:cubicBezTo>
                  <a:cubicBezTo>
                    <a:pt x="14" y="123"/>
                    <a:pt x="29" y="136"/>
                    <a:pt x="79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1" y="90"/>
                    <a:pt x="66" y="139"/>
                    <a:pt x="119" y="122"/>
                  </a:cubicBezTo>
                  <a:cubicBezTo>
                    <a:pt x="119" y="122"/>
                    <a:pt x="152" y="109"/>
                    <a:pt x="184" y="77"/>
                  </a:cubicBezTo>
                  <a:cubicBezTo>
                    <a:pt x="184" y="77"/>
                    <a:pt x="157" y="171"/>
                    <a:pt x="277" y="72"/>
                  </a:cubicBezTo>
                  <a:cubicBezTo>
                    <a:pt x="277" y="72"/>
                    <a:pt x="270" y="111"/>
                    <a:pt x="332" y="97"/>
                  </a:cubicBezTo>
                  <a:cubicBezTo>
                    <a:pt x="332" y="97"/>
                    <a:pt x="355" y="90"/>
                    <a:pt x="371" y="78"/>
                  </a:cubicBezTo>
                  <a:cubicBezTo>
                    <a:pt x="371" y="78"/>
                    <a:pt x="372" y="101"/>
                    <a:pt x="412" y="99"/>
                  </a:cubicBezTo>
                  <a:cubicBezTo>
                    <a:pt x="412" y="99"/>
                    <a:pt x="435" y="99"/>
                    <a:pt x="446" y="80"/>
                  </a:cubicBezTo>
                  <a:cubicBezTo>
                    <a:pt x="446" y="80"/>
                    <a:pt x="454" y="64"/>
                    <a:pt x="437" y="56"/>
                  </a:cubicBezTo>
                  <a:cubicBezTo>
                    <a:pt x="437" y="56"/>
                    <a:pt x="515" y="54"/>
                    <a:pt x="506" y="77"/>
                  </a:cubicBezTo>
                  <a:cubicBezTo>
                    <a:pt x="506" y="77"/>
                    <a:pt x="490" y="100"/>
                    <a:pt x="502" y="98"/>
                  </a:cubicBezTo>
                  <a:cubicBezTo>
                    <a:pt x="502" y="98"/>
                    <a:pt x="508" y="98"/>
                    <a:pt x="519" y="77"/>
                  </a:cubicBezTo>
                  <a:cubicBezTo>
                    <a:pt x="519" y="77"/>
                    <a:pt x="545" y="46"/>
                    <a:pt x="564" y="59"/>
                  </a:cubicBezTo>
                  <a:cubicBezTo>
                    <a:pt x="564" y="59"/>
                    <a:pt x="572" y="67"/>
                    <a:pt x="560" y="84"/>
                  </a:cubicBezTo>
                  <a:cubicBezTo>
                    <a:pt x="560" y="84"/>
                    <a:pt x="547" y="103"/>
                    <a:pt x="556" y="98"/>
                  </a:cubicBezTo>
                  <a:cubicBezTo>
                    <a:pt x="556" y="98"/>
                    <a:pt x="587" y="67"/>
                    <a:pt x="573" y="51"/>
                  </a:cubicBezTo>
                  <a:cubicBezTo>
                    <a:pt x="573" y="51"/>
                    <a:pt x="558" y="32"/>
                    <a:pt x="518" y="69"/>
                  </a:cubicBezTo>
                  <a:moveTo>
                    <a:pt x="20" y="105"/>
                  </a:moveTo>
                  <a:cubicBezTo>
                    <a:pt x="20" y="105"/>
                    <a:pt x="18" y="88"/>
                    <a:pt x="45" y="73"/>
                  </a:cubicBezTo>
                  <a:cubicBezTo>
                    <a:pt x="45" y="73"/>
                    <a:pt x="77" y="60"/>
                    <a:pt x="49" y="105"/>
                  </a:cubicBezTo>
                  <a:cubicBezTo>
                    <a:pt x="49" y="105"/>
                    <a:pt x="22" y="125"/>
                    <a:pt x="20" y="10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Freeform 72"/>
            <p:cNvSpPr>
              <a:spLocks noEditPoints="1"/>
            </p:cNvSpPr>
            <p:nvPr userDrawn="1"/>
          </p:nvSpPr>
          <p:spPr bwMode="auto">
            <a:xfrm>
              <a:off x="5080967" y="1983421"/>
              <a:ext cx="1304003" cy="796229"/>
            </a:xfrm>
            <a:custGeom>
              <a:avLst/>
              <a:gdLst>
                <a:gd name="T0" fmla="*/ 530 w 547"/>
                <a:gd name="T1" fmla="*/ 96 h 334"/>
                <a:gd name="T2" fmla="*/ 435 w 547"/>
                <a:gd name="T3" fmla="*/ 85 h 334"/>
                <a:gd name="T4" fmla="*/ 425 w 547"/>
                <a:gd name="T5" fmla="*/ 88 h 334"/>
                <a:gd name="T6" fmla="*/ 359 w 547"/>
                <a:gd name="T7" fmla="*/ 121 h 334"/>
                <a:gd name="T8" fmla="*/ 333 w 547"/>
                <a:gd name="T9" fmla="*/ 102 h 334"/>
                <a:gd name="T10" fmla="*/ 324 w 547"/>
                <a:gd name="T11" fmla="*/ 99 h 334"/>
                <a:gd name="T12" fmla="*/ 298 w 547"/>
                <a:gd name="T13" fmla="*/ 118 h 334"/>
                <a:gd name="T14" fmla="*/ 245 w 547"/>
                <a:gd name="T15" fmla="*/ 113 h 334"/>
                <a:gd name="T16" fmla="*/ 237 w 547"/>
                <a:gd name="T17" fmla="*/ 94 h 334"/>
                <a:gd name="T18" fmla="*/ 195 w 547"/>
                <a:gd name="T19" fmla="*/ 120 h 334"/>
                <a:gd name="T20" fmla="*/ 183 w 547"/>
                <a:gd name="T21" fmla="*/ 135 h 334"/>
                <a:gd name="T22" fmla="*/ 218 w 547"/>
                <a:gd name="T23" fmla="*/ 68 h 334"/>
                <a:gd name="T24" fmla="*/ 233 w 547"/>
                <a:gd name="T25" fmla="*/ 12 h 334"/>
                <a:gd name="T26" fmla="*/ 223 w 547"/>
                <a:gd name="T27" fmla="*/ 16 h 334"/>
                <a:gd name="T28" fmla="*/ 214 w 547"/>
                <a:gd name="T29" fmla="*/ 46 h 334"/>
                <a:gd name="T30" fmla="*/ 194 w 547"/>
                <a:gd name="T31" fmla="*/ 86 h 334"/>
                <a:gd name="T32" fmla="*/ 97 w 547"/>
                <a:gd name="T33" fmla="*/ 124 h 334"/>
                <a:gd name="T34" fmla="*/ 99 w 547"/>
                <a:gd name="T35" fmla="*/ 96 h 334"/>
                <a:gd name="T36" fmla="*/ 73 w 547"/>
                <a:gd name="T37" fmla="*/ 72 h 334"/>
                <a:gd name="T38" fmla="*/ 10 w 547"/>
                <a:gd name="T39" fmla="*/ 129 h 334"/>
                <a:gd name="T40" fmla="*/ 15 w 547"/>
                <a:gd name="T41" fmla="*/ 152 h 334"/>
                <a:gd name="T42" fmla="*/ 17 w 547"/>
                <a:gd name="T43" fmla="*/ 144 h 334"/>
                <a:gd name="T44" fmla="*/ 34 w 547"/>
                <a:gd name="T45" fmla="*/ 110 h 334"/>
                <a:gd name="T46" fmla="*/ 81 w 547"/>
                <a:gd name="T47" fmla="*/ 83 h 334"/>
                <a:gd name="T48" fmla="*/ 88 w 547"/>
                <a:gd name="T49" fmla="*/ 114 h 334"/>
                <a:gd name="T50" fmla="*/ 87 w 547"/>
                <a:gd name="T51" fmla="*/ 124 h 334"/>
                <a:gd name="T52" fmla="*/ 75 w 547"/>
                <a:gd name="T53" fmla="*/ 121 h 334"/>
                <a:gd name="T54" fmla="*/ 67 w 547"/>
                <a:gd name="T55" fmla="*/ 117 h 334"/>
                <a:gd name="T56" fmla="*/ 65 w 547"/>
                <a:gd name="T57" fmla="*/ 150 h 334"/>
                <a:gd name="T58" fmla="*/ 89 w 547"/>
                <a:gd name="T59" fmla="*/ 146 h 334"/>
                <a:gd name="T60" fmla="*/ 94 w 547"/>
                <a:gd name="T61" fmla="*/ 135 h 334"/>
                <a:gd name="T62" fmla="*/ 186 w 547"/>
                <a:gd name="T63" fmla="*/ 103 h 334"/>
                <a:gd name="T64" fmla="*/ 177 w 547"/>
                <a:gd name="T65" fmla="*/ 126 h 334"/>
                <a:gd name="T66" fmla="*/ 166 w 547"/>
                <a:gd name="T67" fmla="*/ 154 h 334"/>
                <a:gd name="T68" fmla="*/ 180 w 547"/>
                <a:gd name="T69" fmla="*/ 149 h 334"/>
                <a:gd name="T70" fmla="*/ 230 w 547"/>
                <a:gd name="T71" fmla="*/ 100 h 334"/>
                <a:gd name="T72" fmla="*/ 233 w 547"/>
                <a:gd name="T73" fmla="*/ 109 h 334"/>
                <a:gd name="T74" fmla="*/ 321 w 547"/>
                <a:gd name="T75" fmla="*/ 111 h 334"/>
                <a:gd name="T76" fmla="*/ 393 w 547"/>
                <a:gd name="T77" fmla="*/ 117 h 334"/>
                <a:gd name="T78" fmla="*/ 323 w 547"/>
                <a:gd name="T79" fmla="*/ 285 h 334"/>
                <a:gd name="T80" fmla="*/ 333 w 547"/>
                <a:gd name="T81" fmla="*/ 321 h 334"/>
                <a:gd name="T82" fmla="*/ 391 w 547"/>
                <a:gd name="T83" fmla="*/ 235 h 334"/>
                <a:gd name="T84" fmla="*/ 424 w 547"/>
                <a:gd name="T85" fmla="*/ 121 h 334"/>
                <a:gd name="T86" fmla="*/ 432 w 547"/>
                <a:gd name="T87" fmla="*/ 100 h 334"/>
                <a:gd name="T88" fmla="*/ 435 w 547"/>
                <a:gd name="T89" fmla="*/ 96 h 334"/>
                <a:gd name="T90" fmla="*/ 438 w 547"/>
                <a:gd name="T91" fmla="*/ 94 h 334"/>
                <a:gd name="T92" fmla="*/ 510 w 547"/>
                <a:gd name="T93" fmla="*/ 92 h 334"/>
                <a:gd name="T94" fmla="*/ 524 w 547"/>
                <a:gd name="T95" fmla="*/ 134 h 334"/>
                <a:gd name="T96" fmla="*/ 461 w 547"/>
                <a:gd name="T97" fmla="*/ 149 h 334"/>
                <a:gd name="T98" fmla="*/ 448 w 547"/>
                <a:gd name="T99" fmla="*/ 146 h 334"/>
                <a:gd name="T100" fmla="*/ 494 w 547"/>
                <a:gd name="T101" fmla="*/ 160 h 334"/>
                <a:gd name="T102" fmla="*/ 534 w 547"/>
                <a:gd name="T103" fmla="*/ 137 h 334"/>
                <a:gd name="T104" fmla="*/ 530 w 547"/>
                <a:gd name="T105" fmla="*/ 96 h 334"/>
                <a:gd name="T106" fmla="*/ 74 w 547"/>
                <a:gd name="T107" fmla="*/ 145 h 334"/>
                <a:gd name="T108" fmla="*/ 68 w 547"/>
                <a:gd name="T109" fmla="*/ 130 h 334"/>
                <a:gd name="T110" fmla="*/ 85 w 547"/>
                <a:gd name="T111" fmla="*/ 135 h 334"/>
                <a:gd name="T112" fmla="*/ 74 w 547"/>
                <a:gd name="T113" fmla="*/ 145 h 334"/>
                <a:gd name="T114" fmla="*/ 373 w 547"/>
                <a:gd name="T115" fmla="*/ 259 h 334"/>
                <a:gd name="T116" fmla="*/ 345 w 547"/>
                <a:gd name="T117" fmla="*/ 310 h 334"/>
                <a:gd name="T118" fmla="*/ 343 w 547"/>
                <a:gd name="T119" fmla="*/ 234 h 334"/>
                <a:gd name="T120" fmla="*/ 417 w 547"/>
                <a:gd name="T121" fmla="*/ 109 h 334"/>
                <a:gd name="T122" fmla="*/ 373 w 547"/>
                <a:gd name="T123" fmla="*/ 259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334">
                  <a:moveTo>
                    <a:pt x="530" y="96"/>
                  </a:moveTo>
                  <a:cubicBezTo>
                    <a:pt x="492" y="54"/>
                    <a:pt x="435" y="85"/>
                    <a:pt x="435" y="85"/>
                  </a:cubicBezTo>
                  <a:cubicBezTo>
                    <a:pt x="427" y="83"/>
                    <a:pt x="425" y="88"/>
                    <a:pt x="425" y="88"/>
                  </a:cubicBezTo>
                  <a:cubicBezTo>
                    <a:pt x="393" y="114"/>
                    <a:pt x="359" y="121"/>
                    <a:pt x="359" y="121"/>
                  </a:cubicBezTo>
                  <a:cubicBezTo>
                    <a:pt x="328" y="127"/>
                    <a:pt x="333" y="102"/>
                    <a:pt x="333" y="102"/>
                  </a:cubicBezTo>
                  <a:cubicBezTo>
                    <a:pt x="333" y="89"/>
                    <a:pt x="324" y="99"/>
                    <a:pt x="324" y="99"/>
                  </a:cubicBezTo>
                  <a:cubicBezTo>
                    <a:pt x="318" y="107"/>
                    <a:pt x="298" y="118"/>
                    <a:pt x="298" y="118"/>
                  </a:cubicBezTo>
                  <a:cubicBezTo>
                    <a:pt x="257" y="139"/>
                    <a:pt x="245" y="113"/>
                    <a:pt x="245" y="113"/>
                  </a:cubicBezTo>
                  <a:cubicBezTo>
                    <a:pt x="237" y="94"/>
                    <a:pt x="237" y="94"/>
                    <a:pt x="237" y="94"/>
                  </a:cubicBezTo>
                  <a:cubicBezTo>
                    <a:pt x="228" y="71"/>
                    <a:pt x="195" y="120"/>
                    <a:pt x="195" y="120"/>
                  </a:cubicBezTo>
                  <a:cubicBezTo>
                    <a:pt x="185" y="137"/>
                    <a:pt x="183" y="135"/>
                    <a:pt x="183" y="135"/>
                  </a:cubicBezTo>
                  <a:cubicBezTo>
                    <a:pt x="190" y="110"/>
                    <a:pt x="218" y="68"/>
                    <a:pt x="218" y="68"/>
                  </a:cubicBezTo>
                  <a:cubicBezTo>
                    <a:pt x="239" y="31"/>
                    <a:pt x="233" y="12"/>
                    <a:pt x="233" y="12"/>
                  </a:cubicBezTo>
                  <a:cubicBezTo>
                    <a:pt x="228" y="0"/>
                    <a:pt x="223" y="16"/>
                    <a:pt x="223" y="16"/>
                  </a:cubicBezTo>
                  <a:cubicBezTo>
                    <a:pt x="221" y="29"/>
                    <a:pt x="214" y="46"/>
                    <a:pt x="214" y="46"/>
                  </a:cubicBezTo>
                  <a:cubicBezTo>
                    <a:pt x="204" y="73"/>
                    <a:pt x="194" y="86"/>
                    <a:pt x="194" y="86"/>
                  </a:cubicBezTo>
                  <a:cubicBezTo>
                    <a:pt x="147" y="117"/>
                    <a:pt x="116" y="124"/>
                    <a:pt x="97" y="124"/>
                  </a:cubicBezTo>
                  <a:cubicBezTo>
                    <a:pt x="100" y="109"/>
                    <a:pt x="99" y="96"/>
                    <a:pt x="99" y="96"/>
                  </a:cubicBezTo>
                  <a:cubicBezTo>
                    <a:pt x="96" y="67"/>
                    <a:pt x="73" y="72"/>
                    <a:pt x="73" y="72"/>
                  </a:cubicBezTo>
                  <a:cubicBezTo>
                    <a:pt x="35" y="77"/>
                    <a:pt x="10" y="129"/>
                    <a:pt x="10" y="129"/>
                  </a:cubicBezTo>
                  <a:cubicBezTo>
                    <a:pt x="0" y="154"/>
                    <a:pt x="15" y="152"/>
                    <a:pt x="15" y="152"/>
                  </a:cubicBezTo>
                  <a:cubicBezTo>
                    <a:pt x="25" y="149"/>
                    <a:pt x="17" y="144"/>
                    <a:pt x="17" y="144"/>
                  </a:cubicBezTo>
                  <a:cubicBezTo>
                    <a:pt x="17" y="130"/>
                    <a:pt x="34" y="110"/>
                    <a:pt x="34" y="110"/>
                  </a:cubicBezTo>
                  <a:cubicBezTo>
                    <a:pt x="72" y="70"/>
                    <a:pt x="81" y="83"/>
                    <a:pt x="81" y="83"/>
                  </a:cubicBezTo>
                  <a:cubicBezTo>
                    <a:pt x="80" y="83"/>
                    <a:pt x="92" y="89"/>
                    <a:pt x="88" y="114"/>
                  </a:cubicBezTo>
                  <a:cubicBezTo>
                    <a:pt x="88" y="118"/>
                    <a:pt x="87" y="121"/>
                    <a:pt x="87" y="124"/>
                  </a:cubicBezTo>
                  <a:cubicBezTo>
                    <a:pt x="79" y="123"/>
                    <a:pt x="75" y="121"/>
                    <a:pt x="75" y="121"/>
                  </a:cubicBezTo>
                  <a:cubicBezTo>
                    <a:pt x="69" y="115"/>
                    <a:pt x="67" y="117"/>
                    <a:pt x="67" y="117"/>
                  </a:cubicBezTo>
                  <a:cubicBezTo>
                    <a:pt x="50" y="123"/>
                    <a:pt x="65" y="150"/>
                    <a:pt x="65" y="150"/>
                  </a:cubicBezTo>
                  <a:cubicBezTo>
                    <a:pt x="77" y="167"/>
                    <a:pt x="89" y="146"/>
                    <a:pt x="89" y="146"/>
                  </a:cubicBezTo>
                  <a:cubicBezTo>
                    <a:pt x="91" y="142"/>
                    <a:pt x="93" y="139"/>
                    <a:pt x="94" y="135"/>
                  </a:cubicBezTo>
                  <a:cubicBezTo>
                    <a:pt x="135" y="134"/>
                    <a:pt x="186" y="103"/>
                    <a:pt x="186" y="103"/>
                  </a:cubicBezTo>
                  <a:cubicBezTo>
                    <a:pt x="185" y="112"/>
                    <a:pt x="177" y="126"/>
                    <a:pt x="177" y="126"/>
                  </a:cubicBezTo>
                  <a:cubicBezTo>
                    <a:pt x="161" y="155"/>
                    <a:pt x="166" y="154"/>
                    <a:pt x="166" y="154"/>
                  </a:cubicBezTo>
                  <a:cubicBezTo>
                    <a:pt x="171" y="165"/>
                    <a:pt x="180" y="149"/>
                    <a:pt x="180" y="149"/>
                  </a:cubicBezTo>
                  <a:cubicBezTo>
                    <a:pt x="230" y="82"/>
                    <a:pt x="230" y="100"/>
                    <a:pt x="230" y="100"/>
                  </a:cubicBezTo>
                  <a:cubicBezTo>
                    <a:pt x="233" y="109"/>
                    <a:pt x="233" y="109"/>
                    <a:pt x="233" y="109"/>
                  </a:cubicBezTo>
                  <a:cubicBezTo>
                    <a:pt x="257" y="165"/>
                    <a:pt x="321" y="111"/>
                    <a:pt x="321" y="111"/>
                  </a:cubicBezTo>
                  <a:cubicBezTo>
                    <a:pt x="337" y="152"/>
                    <a:pt x="393" y="117"/>
                    <a:pt x="393" y="117"/>
                  </a:cubicBezTo>
                  <a:cubicBezTo>
                    <a:pt x="332" y="198"/>
                    <a:pt x="323" y="285"/>
                    <a:pt x="323" y="285"/>
                  </a:cubicBezTo>
                  <a:cubicBezTo>
                    <a:pt x="319" y="317"/>
                    <a:pt x="333" y="321"/>
                    <a:pt x="333" y="321"/>
                  </a:cubicBezTo>
                  <a:cubicBezTo>
                    <a:pt x="368" y="334"/>
                    <a:pt x="391" y="235"/>
                    <a:pt x="391" y="235"/>
                  </a:cubicBezTo>
                  <a:cubicBezTo>
                    <a:pt x="424" y="121"/>
                    <a:pt x="424" y="121"/>
                    <a:pt x="424" y="121"/>
                  </a:cubicBezTo>
                  <a:cubicBezTo>
                    <a:pt x="429" y="100"/>
                    <a:pt x="432" y="100"/>
                    <a:pt x="432" y="100"/>
                  </a:cubicBezTo>
                  <a:cubicBezTo>
                    <a:pt x="434" y="97"/>
                    <a:pt x="435" y="96"/>
                    <a:pt x="435" y="96"/>
                  </a:cubicBezTo>
                  <a:cubicBezTo>
                    <a:pt x="437" y="94"/>
                    <a:pt x="438" y="94"/>
                    <a:pt x="438" y="94"/>
                  </a:cubicBezTo>
                  <a:cubicBezTo>
                    <a:pt x="485" y="70"/>
                    <a:pt x="510" y="92"/>
                    <a:pt x="510" y="92"/>
                  </a:cubicBezTo>
                  <a:cubicBezTo>
                    <a:pt x="540" y="114"/>
                    <a:pt x="524" y="134"/>
                    <a:pt x="524" y="134"/>
                  </a:cubicBezTo>
                  <a:cubicBezTo>
                    <a:pt x="496" y="163"/>
                    <a:pt x="461" y="149"/>
                    <a:pt x="461" y="149"/>
                  </a:cubicBezTo>
                  <a:cubicBezTo>
                    <a:pt x="447" y="142"/>
                    <a:pt x="448" y="146"/>
                    <a:pt x="448" y="146"/>
                  </a:cubicBezTo>
                  <a:cubicBezTo>
                    <a:pt x="467" y="163"/>
                    <a:pt x="494" y="160"/>
                    <a:pt x="494" y="160"/>
                  </a:cubicBezTo>
                  <a:cubicBezTo>
                    <a:pt x="518" y="158"/>
                    <a:pt x="534" y="137"/>
                    <a:pt x="534" y="137"/>
                  </a:cubicBezTo>
                  <a:cubicBezTo>
                    <a:pt x="547" y="117"/>
                    <a:pt x="530" y="96"/>
                    <a:pt x="530" y="96"/>
                  </a:cubicBezTo>
                  <a:moveTo>
                    <a:pt x="74" y="145"/>
                  </a:moveTo>
                  <a:cubicBezTo>
                    <a:pt x="70" y="142"/>
                    <a:pt x="68" y="130"/>
                    <a:pt x="68" y="130"/>
                  </a:cubicBezTo>
                  <a:cubicBezTo>
                    <a:pt x="73" y="133"/>
                    <a:pt x="79" y="134"/>
                    <a:pt x="85" y="135"/>
                  </a:cubicBezTo>
                  <a:cubicBezTo>
                    <a:pt x="80" y="154"/>
                    <a:pt x="74" y="145"/>
                    <a:pt x="74" y="145"/>
                  </a:cubicBezTo>
                  <a:moveTo>
                    <a:pt x="373" y="259"/>
                  </a:moveTo>
                  <a:cubicBezTo>
                    <a:pt x="359" y="304"/>
                    <a:pt x="345" y="310"/>
                    <a:pt x="345" y="310"/>
                  </a:cubicBezTo>
                  <a:cubicBezTo>
                    <a:pt x="317" y="318"/>
                    <a:pt x="343" y="234"/>
                    <a:pt x="343" y="234"/>
                  </a:cubicBezTo>
                  <a:cubicBezTo>
                    <a:pt x="372" y="140"/>
                    <a:pt x="417" y="109"/>
                    <a:pt x="417" y="109"/>
                  </a:cubicBezTo>
                  <a:cubicBezTo>
                    <a:pt x="421" y="107"/>
                    <a:pt x="373" y="259"/>
                    <a:pt x="373" y="25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Freeform 73"/>
            <p:cNvSpPr>
              <a:spLocks/>
            </p:cNvSpPr>
            <p:nvPr userDrawn="1"/>
          </p:nvSpPr>
          <p:spPr bwMode="auto">
            <a:xfrm>
              <a:off x="3080859" y="2410142"/>
              <a:ext cx="2784417" cy="123964"/>
            </a:xfrm>
            <a:custGeom>
              <a:avLst/>
              <a:gdLst>
                <a:gd name="T0" fmla="*/ 0 w 1168"/>
                <a:gd name="T1" fmla="*/ 46 h 52"/>
                <a:gd name="T2" fmla="*/ 607 w 1168"/>
                <a:gd name="T3" fmla="*/ 14 h 52"/>
                <a:gd name="T4" fmla="*/ 1168 w 1168"/>
                <a:gd name="T5" fmla="*/ 32 h 52"/>
                <a:gd name="T6" fmla="*/ 1164 w 1168"/>
                <a:gd name="T7" fmla="*/ 40 h 52"/>
                <a:gd name="T8" fmla="*/ 756 w 1168"/>
                <a:gd name="T9" fmla="*/ 18 h 52"/>
                <a:gd name="T10" fmla="*/ 12 w 1168"/>
                <a:gd name="T11" fmla="*/ 52 h 52"/>
                <a:gd name="T12" fmla="*/ 0 w 1168"/>
                <a:gd name="T13" fmla="*/ 4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8" h="52">
                  <a:moveTo>
                    <a:pt x="0" y="46"/>
                  </a:moveTo>
                  <a:cubicBezTo>
                    <a:pt x="0" y="46"/>
                    <a:pt x="417" y="14"/>
                    <a:pt x="607" y="14"/>
                  </a:cubicBezTo>
                  <a:cubicBezTo>
                    <a:pt x="607" y="14"/>
                    <a:pt x="1089" y="0"/>
                    <a:pt x="1168" y="32"/>
                  </a:cubicBezTo>
                  <a:cubicBezTo>
                    <a:pt x="1164" y="40"/>
                    <a:pt x="1164" y="40"/>
                    <a:pt x="1164" y="40"/>
                  </a:cubicBezTo>
                  <a:cubicBezTo>
                    <a:pt x="1164" y="40"/>
                    <a:pt x="1059" y="16"/>
                    <a:pt x="756" y="18"/>
                  </a:cubicBezTo>
                  <a:cubicBezTo>
                    <a:pt x="756" y="18"/>
                    <a:pt x="183" y="28"/>
                    <a:pt x="12" y="52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Freeform 74"/>
            <p:cNvSpPr>
              <a:spLocks/>
            </p:cNvSpPr>
            <p:nvPr userDrawn="1"/>
          </p:nvSpPr>
          <p:spPr bwMode="auto">
            <a:xfrm>
              <a:off x="6284846" y="2045402"/>
              <a:ext cx="57214" cy="69134"/>
            </a:xfrm>
            <a:custGeom>
              <a:avLst/>
              <a:gdLst>
                <a:gd name="T0" fmla="*/ 48 w 48"/>
                <a:gd name="T1" fmla="*/ 0 h 58"/>
                <a:gd name="T2" fmla="*/ 48 w 48"/>
                <a:gd name="T3" fmla="*/ 8 h 58"/>
                <a:gd name="T4" fmla="*/ 28 w 48"/>
                <a:gd name="T5" fmla="*/ 8 h 58"/>
                <a:gd name="T6" fmla="*/ 28 w 48"/>
                <a:gd name="T7" fmla="*/ 58 h 58"/>
                <a:gd name="T8" fmla="*/ 20 w 48"/>
                <a:gd name="T9" fmla="*/ 58 h 58"/>
                <a:gd name="T10" fmla="*/ 20 w 48"/>
                <a:gd name="T11" fmla="*/ 8 h 58"/>
                <a:gd name="T12" fmla="*/ 0 w 48"/>
                <a:gd name="T13" fmla="*/ 8 h 58"/>
                <a:gd name="T14" fmla="*/ 0 w 48"/>
                <a:gd name="T15" fmla="*/ 0 h 58"/>
                <a:gd name="T16" fmla="*/ 48 w 48"/>
                <a:gd name="T1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58">
                  <a:moveTo>
                    <a:pt x="48" y="0"/>
                  </a:moveTo>
                  <a:lnTo>
                    <a:pt x="48" y="8"/>
                  </a:lnTo>
                  <a:lnTo>
                    <a:pt x="28" y="8"/>
                  </a:lnTo>
                  <a:lnTo>
                    <a:pt x="28" y="58"/>
                  </a:lnTo>
                  <a:lnTo>
                    <a:pt x="20" y="58"/>
                  </a:lnTo>
                  <a:lnTo>
                    <a:pt x="20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Freeform 75"/>
            <p:cNvSpPr>
              <a:spLocks/>
            </p:cNvSpPr>
            <p:nvPr userDrawn="1"/>
          </p:nvSpPr>
          <p:spPr bwMode="auto">
            <a:xfrm>
              <a:off x="6349212" y="2045402"/>
              <a:ext cx="66750" cy="69134"/>
            </a:xfrm>
            <a:custGeom>
              <a:avLst/>
              <a:gdLst>
                <a:gd name="T0" fmla="*/ 28 w 28"/>
                <a:gd name="T1" fmla="*/ 0 h 29"/>
                <a:gd name="T2" fmla="*/ 28 w 28"/>
                <a:gd name="T3" fmla="*/ 29 h 29"/>
                <a:gd name="T4" fmla="*/ 24 w 28"/>
                <a:gd name="T5" fmla="*/ 29 h 29"/>
                <a:gd name="T6" fmla="*/ 24 w 28"/>
                <a:gd name="T7" fmla="*/ 18 h 29"/>
                <a:gd name="T8" fmla="*/ 24 w 28"/>
                <a:gd name="T9" fmla="*/ 7 h 29"/>
                <a:gd name="T10" fmla="*/ 24 w 28"/>
                <a:gd name="T11" fmla="*/ 7 h 29"/>
                <a:gd name="T12" fmla="*/ 21 w 28"/>
                <a:gd name="T13" fmla="*/ 12 h 29"/>
                <a:gd name="T14" fmla="*/ 16 w 28"/>
                <a:gd name="T15" fmla="*/ 22 h 29"/>
                <a:gd name="T16" fmla="*/ 13 w 28"/>
                <a:gd name="T17" fmla="*/ 22 h 29"/>
                <a:gd name="T18" fmla="*/ 7 w 28"/>
                <a:gd name="T19" fmla="*/ 12 h 29"/>
                <a:gd name="T20" fmla="*/ 5 w 28"/>
                <a:gd name="T21" fmla="*/ 7 h 29"/>
                <a:gd name="T22" fmla="*/ 5 w 28"/>
                <a:gd name="T23" fmla="*/ 7 h 29"/>
                <a:gd name="T24" fmla="*/ 5 w 28"/>
                <a:gd name="T25" fmla="*/ 18 h 29"/>
                <a:gd name="T26" fmla="*/ 5 w 28"/>
                <a:gd name="T27" fmla="*/ 29 h 29"/>
                <a:gd name="T28" fmla="*/ 0 w 28"/>
                <a:gd name="T29" fmla="*/ 29 h 29"/>
                <a:gd name="T30" fmla="*/ 0 w 28"/>
                <a:gd name="T31" fmla="*/ 0 h 29"/>
                <a:gd name="T32" fmla="*/ 5 w 28"/>
                <a:gd name="T33" fmla="*/ 0 h 29"/>
                <a:gd name="T34" fmla="*/ 11 w 28"/>
                <a:gd name="T35" fmla="*/ 11 h 29"/>
                <a:gd name="T36" fmla="*/ 14 w 28"/>
                <a:gd name="T37" fmla="*/ 16 h 29"/>
                <a:gd name="T38" fmla="*/ 14 w 28"/>
                <a:gd name="T39" fmla="*/ 16 h 29"/>
                <a:gd name="T40" fmla="*/ 17 w 28"/>
                <a:gd name="T41" fmla="*/ 11 h 29"/>
                <a:gd name="T42" fmla="*/ 24 w 28"/>
                <a:gd name="T43" fmla="*/ 0 h 29"/>
                <a:gd name="T44" fmla="*/ 28 w 28"/>
                <a:gd name="T4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29">
                  <a:moveTo>
                    <a:pt x="28" y="0"/>
                  </a:moveTo>
                  <a:cubicBezTo>
                    <a:pt x="28" y="29"/>
                    <a:pt x="28" y="29"/>
                    <a:pt x="28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2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2" y="10"/>
                    <a:pt x="21" y="1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0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12"/>
                    <a:pt x="5" y="1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4" y="15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5" y="15"/>
                    <a:pt x="17" y="11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79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9" name="TextBox 48"/>
          <p:cNvSpPr txBox="1">
            <a:spLocks noChangeArrowheads="1"/>
          </p:cNvSpPr>
          <p:nvPr userDrawn="1"/>
        </p:nvSpPr>
        <p:spPr bwMode="auto">
          <a:xfrm>
            <a:off x="2147418" y="4052465"/>
            <a:ext cx="789716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1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8.4 </a:t>
            </a:r>
            <a:r>
              <a:rPr lang="en-US" sz="1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ION ENTERPRISE | </a:t>
            </a:r>
            <a:r>
              <a:rPr lang="en-US" sz="1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2,000</a:t>
            </a:r>
            <a:r>
              <a:rPr lang="en-US" sz="1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DEAPRENEURS | </a:t>
            </a:r>
            <a:r>
              <a:rPr lang="en-US" sz="1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4</a:t>
            </a:r>
            <a:r>
              <a:rPr lang="en-US" sz="1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UNTRIES</a:t>
            </a:r>
          </a:p>
        </p:txBody>
      </p:sp>
    </p:spTree>
    <p:extLst>
      <p:ext uri="{BB962C8B-B14F-4D97-AF65-F5344CB8AC3E}">
        <p14:creationId xmlns:p14="http://schemas.microsoft.com/office/powerpoint/2010/main" val="3477189815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101A3A96-FEF1-42CF-A42F-7CB5793245F7}"/>
              </a:ext>
            </a:extLst>
          </p:cNvPr>
          <p:cNvGrpSpPr/>
          <p:nvPr userDrawn="1"/>
        </p:nvGrpSpPr>
        <p:grpSpPr>
          <a:xfrm>
            <a:off x="10546240" y="6380402"/>
            <a:ext cx="1219595" cy="186117"/>
            <a:chOff x="10543493" y="6380401"/>
            <a:chExt cx="1219277" cy="186117"/>
          </a:xfrm>
        </p:grpSpPr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68A102B3-DA3F-4649-A851-E5C5D9E3F5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43493" y="6393814"/>
              <a:ext cx="468953" cy="162643"/>
            </a:xfrm>
            <a:custGeom>
              <a:avLst/>
              <a:gdLst>
                <a:gd name="T0" fmla="*/ 0 w 555"/>
                <a:gd name="T1" fmla="*/ 194 h 194"/>
                <a:gd name="T2" fmla="*/ 156 w 555"/>
                <a:gd name="T3" fmla="*/ 194 h 194"/>
                <a:gd name="T4" fmla="*/ 189 w 555"/>
                <a:gd name="T5" fmla="*/ 116 h 194"/>
                <a:gd name="T6" fmla="*/ 343 w 555"/>
                <a:gd name="T7" fmla="*/ 116 h 194"/>
                <a:gd name="T8" fmla="*/ 310 w 555"/>
                <a:gd name="T9" fmla="*/ 194 h 194"/>
                <a:gd name="T10" fmla="*/ 468 w 555"/>
                <a:gd name="T11" fmla="*/ 194 h 194"/>
                <a:gd name="T12" fmla="*/ 555 w 555"/>
                <a:gd name="T13" fmla="*/ 0 h 194"/>
                <a:gd name="T14" fmla="*/ 395 w 555"/>
                <a:gd name="T15" fmla="*/ 0 h 194"/>
                <a:gd name="T16" fmla="*/ 366 w 555"/>
                <a:gd name="T17" fmla="*/ 66 h 194"/>
                <a:gd name="T18" fmla="*/ 213 w 555"/>
                <a:gd name="T19" fmla="*/ 66 h 194"/>
                <a:gd name="T20" fmla="*/ 241 w 555"/>
                <a:gd name="T21" fmla="*/ 0 h 194"/>
                <a:gd name="T22" fmla="*/ 85 w 555"/>
                <a:gd name="T23" fmla="*/ 0 h 194"/>
                <a:gd name="T24" fmla="*/ 0 w 555"/>
                <a:gd name="T25" fmla="*/ 194 h 1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55" h="194">
                  <a:moveTo>
                    <a:pt x="0" y="194"/>
                  </a:moveTo>
                  <a:lnTo>
                    <a:pt x="156" y="194"/>
                  </a:lnTo>
                  <a:lnTo>
                    <a:pt x="189" y="116"/>
                  </a:lnTo>
                  <a:lnTo>
                    <a:pt x="343" y="116"/>
                  </a:lnTo>
                  <a:lnTo>
                    <a:pt x="310" y="194"/>
                  </a:lnTo>
                  <a:lnTo>
                    <a:pt x="468" y="194"/>
                  </a:lnTo>
                  <a:lnTo>
                    <a:pt x="555" y="0"/>
                  </a:lnTo>
                  <a:lnTo>
                    <a:pt x="395" y="0"/>
                  </a:lnTo>
                  <a:lnTo>
                    <a:pt x="366" y="66"/>
                  </a:lnTo>
                  <a:lnTo>
                    <a:pt x="213" y="66"/>
                  </a:lnTo>
                  <a:lnTo>
                    <a:pt x="241" y="0"/>
                  </a:lnTo>
                  <a:lnTo>
                    <a:pt x="85" y="0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E4803AC0-6E6E-49FA-A40C-7281E49AEF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88787" y="6380401"/>
              <a:ext cx="442759" cy="186117"/>
            </a:xfrm>
            <a:custGeom>
              <a:avLst/>
              <a:gdLst>
                <a:gd name="T0" fmla="*/ 27472 w 222"/>
                <a:gd name="T1" fmla="*/ 6096 h 94"/>
                <a:gd name="T2" fmla="*/ 38398 w 222"/>
                <a:gd name="T3" fmla="*/ 6096 h 94"/>
                <a:gd name="T4" fmla="*/ 31506 w 222"/>
                <a:gd name="T5" fmla="*/ 1393 h 94"/>
                <a:gd name="T6" fmla="*/ 5865 w 222"/>
                <a:gd name="T7" fmla="*/ 4322 h 94"/>
                <a:gd name="T8" fmla="*/ 5337 w 222"/>
                <a:gd name="T9" fmla="*/ 14251 h 94"/>
                <a:gd name="T10" fmla="*/ 26448 w 222"/>
                <a:gd name="T11" fmla="*/ 15053 h 94"/>
                <a:gd name="T12" fmla="*/ 36125 w 222"/>
                <a:gd name="T13" fmla="*/ 10736 h 94"/>
                <a:gd name="T14" fmla="*/ 25048 w 222"/>
                <a:gd name="T15" fmla="*/ 10736 h 94"/>
                <a:gd name="T16" fmla="*/ 19556 w 222"/>
                <a:gd name="T17" fmla="*/ 12477 h 94"/>
                <a:gd name="T18" fmla="*/ 13622 w 222"/>
                <a:gd name="T19" fmla="*/ 8311 h 94"/>
                <a:gd name="T20" fmla="*/ 21763 w 222"/>
                <a:gd name="T21" fmla="*/ 4322 h 94"/>
                <a:gd name="T22" fmla="*/ 27472 w 222"/>
                <a:gd name="T23" fmla="*/ 6096 h 9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2" h="94">
                  <a:moveTo>
                    <a:pt x="159" y="35"/>
                  </a:moveTo>
                  <a:cubicBezTo>
                    <a:pt x="222" y="35"/>
                    <a:pt x="222" y="35"/>
                    <a:pt x="222" y="35"/>
                  </a:cubicBezTo>
                  <a:cubicBezTo>
                    <a:pt x="221" y="21"/>
                    <a:pt x="208" y="12"/>
                    <a:pt x="182" y="8"/>
                  </a:cubicBezTo>
                  <a:cubicBezTo>
                    <a:pt x="130" y="0"/>
                    <a:pt x="74" y="3"/>
                    <a:pt x="34" y="25"/>
                  </a:cubicBezTo>
                  <a:cubicBezTo>
                    <a:pt x="2" y="43"/>
                    <a:pt x="0" y="69"/>
                    <a:pt x="31" y="82"/>
                  </a:cubicBezTo>
                  <a:cubicBezTo>
                    <a:pt x="58" y="93"/>
                    <a:pt x="113" y="94"/>
                    <a:pt x="153" y="87"/>
                  </a:cubicBezTo>
                  <a:cubicBezTo>
                    <a:pt x="179" y="83"/>
                    <a:pt x="198" y="74"/>
                    <a:pt x="209" y="62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37" y="68"/>
                    <a:pt x="126" y="71"/>
                    <a:pt x="113" y="72"/>
                  </a:cubicBezTo>
                  <a:cubicBezTo>
                    <a:pt x="77" y="72"/>
                    <a:pt x="72" y="61"/>
                    <a:pt x="79" y="48"/>
                  </a:cubicBezTo>
                  <a:cubicBezTo>
                    <a:pt x="86" y="34"/>
                    <a:pt x="102" y="25"/>
                    <a:pt x="126" y="25"/>
                  </a:cubicBezTo>
                  <a:cubicBezTo>
                    <a:pt x="145" y="24"/>
                    <a:pt x="154" y="28"/>
                    <a:pt x="159" y="35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0E4755FB-D8E1-46C5-AC69-C621AD041C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22251" y="6393814"/>
              <a:ext cx="340519" cy="162643"/>
            </a:xfrm>
            <a:custGeom>
              <a:avLst/>
              <a:gdLst>
                <a:gd name="T0" fmla="*/ 248 w 403"/>
                <a:gd name="T1" fmla="*/ 0 h 194"/>
                <a:gd name="T2" fmla="*/ 181 w 403"/>
                <a:gd name="T3" fmla="*/ 146 h 194"/>
                <a:gd name="T4" fmla="*/ 403 w 403"/>
                <a:gd name="T5" fmla="*/ 146 h 194"/>
                <a:gd name="T6" fmla="*/ 385 w 403"/>
                <a:gd name="T7" fmla="*/ 194 h 194"/>
                <a:gd name="T8" fmla="*/ 0 w 403"/>
                <a:gd name="T9" fmla="*/ 194 h 194"/>
                <a:gd name="T10" fmla="*/ 87 w 403"/>
                <a:gd name="T11" fmla="*/ 0 h 194"/>
                <a:gd name="T12" fmla="*/ 248 w 403"/>
                <a:gd name="T13" fmla="*/ 0 h 19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03" h="194">
                  <a:moveTo>
                    <a:pt x="248" y="0"/>
                  </a:moveTo>
                  <a:lnTo>
                    <a:pt x="181" y="146"/>
                  </a:lnTo>
                  <a:lnTo>
                    <a:pt x="403" y="146"/>
                  </a:lnTo>
                  <a:lnTo>
                    <a:pt x="385" y="194"/>
                  </a:lnTo>
                  <a:lnTo>
                    <a:pt x="0" y="194"/>
                  </a:lnTo>
                  <a:lnTo>
                    <a:pt x="87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8013366C-3811-4098-AC1F-C2306487C857}"/>
              </a:ext>
            </a:extLst>
          </p:cNvPr>
          <p:cNvSpPr>
            <a:spLocks/>
          </p:cNvSpPr>
          <p:nvPr userDrawn="1"/>
        </p:nvSpPr>
        <p:spPr>
          <a:xfrm>
            <a:off x="7708895" y="6571045"/>
            <a:ext cx="4071307" cy="18466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spAutoFit/>
          </a:bodyPr>
          <a:lstStyle/>
          <a:p>
            <a:pPr lvl="0" algn="r" defTabSz="1217613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ING Me"/>
                <a:ea typeface="+mn-ea"/>
                <a:cs typeface="Segoe UI" panose="020B0502040204020203" pitchFamily="34" charset="0"/>
              </a:rPr>
              <a:t>Copyright © 2019 HCL Technologies Limited  |  www.hcltech.com</a:t>
            </a:r>
          </a:p>
        </p:txBody>
      </p:sp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FD777D1B-2F69-4182-9426-A5784B0950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31"/>
          <a:stretch/>
        </p:blipFill>
        <p:spPr>
          <a:xfrm>
            <a:off x="6093133" y="1"/>
            <a:ext cx="6104408" cy="6245287"/>
          </a:xfrm>
          <a:prstGeom prst="rect">
            <a:avLst/>
          </a:prstGeom>
        </p:spPr>
      </p:pic>
      <p:pic>
        <p:nvPicPr>
          <p:cNvPr id="20" name="Picture 19" descr="A close up of a logo&#10;&#10;Description automatically generated">
            <a:extLst>
              <a:ext uri="{FF2B5EF4-FFF2-40B4-BE49-F238E27FC236}">
                <a16:creationId xmlns:a16="http://schemas.microsoft.com/office/drawing/2014/main" id="{0AA36AF6-D616-492A-94BD-AB2167A1C4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911"/>
          <a:stretch/>
        </p:blipFill>
        <p:spPr>
          <a:xfrm>
            <a:off x="412814" y="-611007"/>
            <a:ext cx="5623560" cy="5751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89831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55650" y="397912"/>
            <a:ext cx="10880699" cy="642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724400" y="6500732"/>
            <a:ext cx="2743200" cy="365125"/>
          </a:xfrm>
          <a:prstGeom prst="rect">
            <a:avLst/>
          </a:prstGeom>
        </p:spPr>
        <p:txBody>
          <a:bodyPr/>
          <a:lstStyle/>
          <a:p>
            <a:fld id="{04D3B416-56D6-4E1A-828A-9E1D5E721EE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09651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image" Target="../media/image4.emf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2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8" name="Rectangle 7"/>
          <p:cNvSpPr/>
          <p:nvPr userDrawn="1"/>
        </p:nvSpPr>
        <p:spPr>
          <a:xfrm>
            <a:off x="6020659" y="6692044"/>
            <a:ext cx="150682" cy="153888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6859F80E-620D-49A1-BE04-AB53E30ABC2A}" type="slidenum">
              <a:rPr lang="it-IT" sz="1000" smtClean="0">
                <a:solidFill>
                  <a:srgbClr val="404040"/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pPr algn="ctr" eaLnBrk="1" hangingPunct="1"/>
              <a:t>‹#›</a:t>
            </a:fld>
            <a:endParaRPr lang="en-US" sz="1000" dirty="0">
              <a:solidFill>
                <a:srgbClr val="404040"/>
              </a:solidFill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A11CBD7-DB7F-42B0-A0D1-A33354502D6F}"/>
              </a:ext>
            </a:extLst>
          </p:cNvPr>
          <p:cNvSpPr>
            <a:spLocks/>
          </p:cNvSpPr>
          <p:nvPr userDrawn="1"/>
        </p:nvSpPr>
        <p:spPr>
          <a:xfrm>
            <a:off x="8365806" y="6586434"/>
            <a:ext cx="3414396" cy="153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spAutoFit/>
          </a:bodyPr>
          <a:lstStyle/>
          <a:p>
            <a:pPr lvl="0" algn="r" defTabSz="1217613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ING Me"/>
                <a:ea typeface="+mn-ea"/>
                <a:cs typeface="Segoe UI" panose="020B0502040204020203" pitchFamily="34" charset="0"/>
              </a:rPr>
              <a:t>Copyright © 2019 HCL Technologies Limited  |  www.hcltech.com</a:t>
            </a:r>
          </a:p>
        </p:txBody>
      </p:sp>
    </p:spTree>
    <p:extLst>
      <p:ext uri="{BB962C8B-B14F-4D97-AF65-F5344CB8AC3E}">
        <p14:creationId xmlns:p14="http://schemas.microsoft.com/office/powerpoint/2010/main" val="868546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1" y="1117601"/>
            <a:ext cx="11379200" cy="4976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25242" y="0"/>
            <a:ext cx="11341514" cy="731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/>
          <p:cNvCxnSpPr/>
          <p:nvPr userDrawn="1"/>
        </p:nvCxnSpPr>
        <p:spPr bwMode="auto">
          <a:xfrm>
            <a:off x="425242" y="731520"/>
            <a:ext cx="11341514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18"/>
          <p:cNvCxnSpPr/>
          <p:nvPr userDrawn="1"/>
        </p:nvCxnSpPr>
        <p:spPr bwMode="auto">
          <a:xfrm>
            <a:off x="626696" y="6577014"/>
            <a:ext cx="0" cy="280987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sm" len="sm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1" name="Group 5">
            <a:extLst>
              <a:ext uri="{FF2B5EF4-FFF2-40B4-BE49-F238E27FC236}">
                <a16:creationId xmlns:a16="http://schemas.microsoft.com/office/drawing/2014/main" id="{0CCE870B-EF65-43AD-8631-842E7FF022B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522574" y="6372018"/>
            <a:ext cx="1257628" cy="213783"/>
            <a:chOff x="5094" y="3939"/>
            <a:chExt cx="1488" cy="255"/>
          </a:xfrm>
        </p:grpSpPr>
        <p:sp>
          <p:nvSpPr>
            <p:cNvPr id="22" name="AutoShape 4">
              <a:extLst>
                <a:ext uri="{FF2B5EF4-FFF2-40B4-BE49-F238E27FC236}">
                  <a16:creationId xmlns:a16="http://schemas.microsoft.com/office/drawing/2014/main" id="{9C253784-09F8-4976-84D6-A4DA73F4D3B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5094" y="3939"/>
              <a:ext cx="1488" cy="2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EF6BD5D9-E3FF-4B92-B513-C639B3AA4A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22" y="3965"/>
              <a:ext cx="555" cy="194"/>
            </a:xfrm>
            <a:custGeom>
              <a:avLst/>
              <a:gdLst>
                <a:gd name="T0" fmla="*/ 0 w 555"/>
                <a:gd name="T1" fmla="*/ 194 h 194"/>
                <a:gd name="T2" fmla="*/ 156 w 555"/>
                <a:gd name="T3" fmla="*/ 194 h 194"/>
                <a:gd name="T4" fmla="*/ 189 w 555"/>
                <a:gd name="T5" fmla="*/ 116 h 194"/>
                <a:gd name="T6" fmla="*/ 343 w 555"/>
                <a:gd name="T7" fmla="*/ 116 h 194"/>
                <a:gd name="T8" fmla="*/ 310 w 555"/>
                <a:gd name="T9" fmla="*/ 194 h 194"/>
                <a:gd name="T10" fmla="*/ 468 w 555"/>
                <a:gd name="T11" fmla="*/ 194 h 194"/>
                <a:gd name="T12" fmla="*/ 555 w 555"/>
                <a:gd name="T13" fmla="*/ 0 h 194"/>
                <a:gd name="T14" fmla="*/ 395 w 555"/>
                <a:gd name="T15" fmla="*/ 0 h 194"/>
                <a:gd name="T16" fmla="*/ 366 w 555"/>
                <a:gd name="T17" fmla="*/ 66 h 194"/>
                <a:gd name="T18" fmla="*/ 213 w 555"/>
                <a:gd name="T19" fmla="*/ 66 h 194"/>
                <a:gd name="T20" fmla="*/ 241 w 555"/>
                <a:gd name="T21" fmla="*/ 0 h 194"/>
                <a:gd name="T22" fmla="*/ 85 w 555"/>
                <a:gd name="T23" fmla="*/ 0 h 194"/>
                <a:gd name="T24" fmla="*/ 0 w 555"/>
                <a:gd name="T25" fmla="*/ 194 h 1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55" h="194">
                  <a:moveTo>
                    <a:pt x="0" y="194"/>
                  </a:moveTo>
                  <a:lnTo>
                    <a:pt x="156" y="194"/>
                  </a:lnTo>
                  <a:lnTo>
                    <a:pt x="189" y="116"/>
                  </a:lnTo>
                  <a:lnTo>
                    <a:pt x="343" y="116"/>
                  </a:lnTo>
                  <a:lnTo>
                    <a:pt x="310" y="194"/>
                  </a:lnTo>
                  <a:lnTo>
                    <a:pt x="468" y="194"/>
                  </a:lnTo>
                  <a:lnTo>
                    <a:pt x="555" y="0"/>
                  </a:lnTo>
                  <a:lnTo>
                    <a:pt x="395" y="0"/>
                  </a:lnTo>
                  <a:lnTo>
                    <a:pt x="366" y="66"/>
                  </a:lnTo>
                  <a:lnTo>
                    <a:pt x="213" y="66"/>
                  </a:lnTo>
                  <a:lnTo>
                    <a:pt x="241" y="0"/>
                  </a:lnTo>
                  <a:lnTo>
                    <a:pt x="85" y="0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89256275-7ED3-4165-B42C-AAF585599E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9" y="3949"/>
              <a:ext cx="524" cy="222"/>
            </a:xfrm>
            <a:custGeom>
              <a:avLst/>
              <a:gdLst>
                <a:gd name="T0" fmla="*/ 27472 w 222"/>
                <a:gd name="T1" fmla="*/ 6096 h 94"/>
                <a:gd name="T2" fmla="*/ 38398 w 222"/>
                <a:gd name="T3" fmla="*/ 6096 h 94"/>
                <a:gd name="T4" fmla="*/ 31506 w 222"/>
                <a:gd name="T5" fmla="*/ 1393 h 94"/>
                <a:gd name="T6" fmla="*/ 5865 w 222"/>
                <a:gd name="T7" fmla="*/ 4322 h 94"/>
                <a:gd name="T8" fmla="*/ 5337 w 222"/>
                <a:gd name="T9" fmla="*/ 14251 h 94"/>
                <a:gd name="T10" fmla="*/ 26448 w 222"/>
                <a:gd name="T11" fmla="*/ 15053 h 94"/>
                <a:gd name="T12" fmla="*/ 36125 w 222"/>
                <a:gd name="T13" fmla="*/ 10736 h 94"/>
                <a:gd name="T14" fmla="*/ 25048 w 222"/>
                <a:gd name="T15" fmla="*/ 10736 h 94"/>
                <a:gd name="T16" fmla="*/ 19556 w 222"/>
                <a:gd name="T17" fmla="*/ 12477 h 94"/>
                <a:gd name="T18" fmla="*/ 13622 w 222"/>
                <a:gd name="T19" fmla="*/ 8311 h 94"/>
                <a:gd name="T20" fmla="*/ 21763 w 222"/>
                <a:gd name="T21" fmla="*/ 4322 h 94"/>
                <a:gd name="T22" fmla="*/ 27472 w 222"/>
                <a:gd name="T23" fmla="*/ 6096 h 9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2" h="94">
                  <a:moveTo>
                    <a:pt x="159" y="35"/>
                  </a:moveTo>
                  <a:cubicBezTo>
                    <a:pt x="222" y="35"/>
                    <a:pt x="222" y="35"/>
                    <a:pt x="222" y="35"/>
                  </a:cubicBezTo>
                  <a:cubicBezTo>
                    <a:pt x="221" y="21"/>
                    <a:pt x="208" y="12"/>
                    <a:pt x="182" y="8"/>
                  </a:cubicBezTo>
                  <a:cubicBezTo>
                    <a:pt x="130" y="0"/>
                    <a:pt x="74" y="3"/>
                    <a:pt x="34" y="25"/>
                  </a:cubicBezTo>
                  <a:cubicBezTo>
                    <a:pt x="2" y="43"/>
                    <a:pt x="0" y="69"/>
                    <a:pt x="31" y="82"/>
                  </a:cubicBezTo>
                  <a:cubicBezTo>
                    <a:pt x="58" y="93"/>
                    <a:pt x="113" y="94"/>
                    <a:pt x="153" y="87"/>
                  </a:cubicBezTo>
                  <a:cubicBezTo>
                    <a:pt x="179" y="83"/>
                    <a:pt x="198" y="74"/>
                    <a:pt x="209" y="62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37" y="68"/>
                    <a:pt x="126" y="71"/>
                    <a:pt x="113" y="72"/>
                  </a:cubicBezTo>
                  <a:cubicBezTo>
                    <a:pt x="77" y="72"/>
                    <a:pt x="72" y="61"/>
                    <a:pt x="79" y="48"/>
                  </a:cubicBezTo>
                  <a:cubicBezTo>
                    <a:pt x="86" y="34"/>
                    <a:pt x="102" y="25"/>
                    <a:pt x="126" y="25"/>
                  </a:cubicBezTo>
                  <a:cubicBezTo>
                    <a:pt x="145" y="24"/>
                    <a:pt x="154" y="28"/>
                    <a:pt x="159" y="35"/>
                  </a:cubicBez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35855664-B1EE-4B2D-8326-F795B14D28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62" y="3965"/>
              <a:ext cx="403" cy="194"/>
            </a:xfrm>
            <a:custGeom>
              <a:avLst/>
              <a:gdLst>
                <a:gd name="T0" fmla="*/ 248 w 403"/>
                <a:gd name="T1" fmla="*/ 0 h 194"/>
                <a:gd name="T2" fmla="*/ 181 w 403"/>
                <a:gd name="T3" fmla="*/ 146 h 194"/>
                <a:gd name="T4" fmla="*/ 403 w 403"/>
                <a:gd name="T5" fmla="*/ 146 h 194"/>
                <a:gd name="T6" fmla="*/ 385 w 403"/>
                <a:gd name="T7" fmla="*/ 194 h 194"/>
                <a:gd name="T8" fmla="*/ 0 w 403"/>
                <a:gd name="T9" fmla="*/ 194 h 194"/>
                <a:gd name="T10" fmla="*/ 87 w 403"/>
                <a:gd name="T11" fmla="*/ 0 h 194"/>
                <a:gd name="T12" fmla="*/ 248 w 403"/>
                <a:gd name="T13" fmla="*/ 0 h 19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03" h="194">
                  <a:moveTo>
                    <a:pt x="248" y="0"/>
                  </a:moveTo>
                  <a:lnTo>
                    <a:pt x="181" y="146"/>
                  </a:lnTo>
                  <a:lnTo>
                    <a:pt x="403" y="146"/>
                  </a:lnTo>
                  <a:lnTo>
                    <a:pt x="385" y="194"/>
                  </a:lnTo>
                  <a:lnTo>
                    <a:pt x="0" y="194"/>
                  </a:lnTo>
                  <a:lnTo>
                    <a:pt x="87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5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6400" dirty="0">
                <a:latin typeface="+mj-lt"/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C3560AF2-F6EC-452D-8247-DA0DBDCF67CA}"/>
              </a:ext>
            </a:extLst>
          </p:cNvPr>
          <p:cNvSpPr>
            <a:spLocks/>
          </p:cNvSpPr>
          <p:nvPr userDrawn="1"/>
        </p:nvSpPr>
        <p:spPr>
          <a:xfrm>
            <a:off x="8365806" y="6586434"/>
            <a:ext cx="3414396" cy="153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spAutoFit/>
          </a:bodyPr>
          <a:lstStyle/>
          <a:p>
            <a:pPr lvl="0" algn="r" defTabSz="1217613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ING Me"/>
                <a:ea typeface="+mn-ea"/>
                <a:cs typeface="Segoe UI" panose="020B0502040204020203" pitchFamily="34" charset="0"/>
              </a:rPr>
              <a:t>Copyright © 2019 HCL Technologies Limited  |  www.hcltech.com</a:t>
            </a:r>
          </a:p>
        </p:txBody>
      </p:sp>
    </p:spTree>
    <p:extLst>
      <p:ext uri="{BB962C8B-B14F-4D97-AF65-F5344CB8AC3E}">
        <p14:creationId xmlns:p14="http://schemas.microsoft.com/office/powerpoint/2010/main" val="3396608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81" r:id="rId7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cap="none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29B"/>
          </a:solidFill>
          <a:latin typeface="Novecento Book" pitchFamily="50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346075" indent="-346075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Font typeface="Webdings" panose="05030102010509060703" pitchFamily="18" charset="2"/>
        <a:buChar char="4"/>
        <a:defRPr sz="20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68325" indent="-228600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marL="798513" indent="-228600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Symbol" panose="05050102010706020507" pitchFamily="18" charset="2"/>
        <a:buChar char="·"/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marL="904875" indent="-219075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4pPr>
      <a:lvl5pPr marL="1133475" indent="-219075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5pPr>
      <a:lvl6pPr marL="15906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6pPr>
      <a:lvl7pPr marL="20478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7pPr>
      <a:lvl8pPr marL="25050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8pPr>
      <a:lvl9pPr marL="2962275" indent="-219075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28649" y="397912"/>
            <a:ext cx="10908000" cy="642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28650" y="1611630"/>
            <a:ext cx="10908000" cy="202590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12" cstate="print">
            <a:lum bright="-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204" y="6478112"/>
            <a:ext cx="582893" cy="325168"/>
          </a:xfrm>
          <a:prstGeom prst="rect">
            <a:avLst/>
          </a:prstGeom>
        </p:spPr>
      </p:pic>
      <p:pic>
        <p:nvPicPr>
          <p:cNvPr id="3074" name="Picture 2" descr="Image result for hcl logo black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06" y="6429859"/>
            <a:ext cx="1123686" cy="306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724400" y="64935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DB2352-4C90-40A1-9D9F-A9BFF806F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63C38DA-5FCF-4A2C-A1D8-7172D7A8467B}"/>
              </a:ext>
            </a:extLst>
          </p:cNvPr>
          <p:cNvSpPr>
            <a:spLocks/>
          </p:cNvSpPr>
          <p:nvPr userDrawn="1"/>
        </p:nvSpPr>
        <p:spPr>
          <a:xfrm>
            <a:off x="8365806" y="6586434"/>
            <a:ext cx="3414396" cy="153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 anchorCtr="0">
            <a:spAutoFit/>
          </a:bodyPr>
          <a:lstStyle/>
          <a:p>
            <a:pPr lvl="0" algn="r" defTabSz="1217613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ING Me"/>
                <a:ea typeface="+mn-ea"/>
                <a:cs typeface="Segoe UI" panose="020B0502040204020203" pitchFamily="34" charset="0"/>
              </a:rPr>
              <a:t>Copyright © 2019 HCL Technologies Limited  |  www.hcltech.com</a:t>
            </a:r>
          </a:p>
        </p:txBody>
      </p:sp>
    </p:spTree>
    <p:extLst>
      <p:ext uri="{BB962C8B-B14F-4D97-AF65-F5344CB8AC3E}">
        <p14:creationId xmlns:p14="http://schemas.microsoft.com/office/powerpoint/2010/main" val="114073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7" r:id="rId7"/>
    <p:sldLayoutId id="2147483678" r:id="rId8"/>
    <p:sldLayoutId id="2147483679" r:id="rId9"/>
    <p:sldLayoutId id="2147483680" r:id="rId10"/>
  </p:sldLayoutIdLst>
  <p:hf hdr="0" ftr="0" dt="0"/>
  <p:txStyles>
    <p:titleStyle>
      <a:lvl1pPr algn="l" defTabSz="61722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54305" indent="-154305" algn="l" defTabSz="617220" rtl="0" eaLnBrk="1" latinLnBrk="0" hangingPunct="1">
        <a:lnSpc>
          <a:spcPct val="90000"/>
        </a:lnSpc>
        <a:spcBef>
          <a:spcPts val="675"/>
        </a:spcBef>
        <a:buFont typeface="Arial"/>
        <a:buChar char="•"/>
        <a:defRPr sz="189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6291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77152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8013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4pPr>
      <a:lvl5pPr marL="138874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5pPr>
      <a:lvl6pPr marL="169735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200596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31457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623185" indent="-154305" algn="l" defTabSz="617220" rtl="0" eaLnBrk="1" latinLnBrk="0" hangingPunct="1">
        <a:lnSpc>
          <a:spcPct val="90000"/>
        </a:lnSpc>
        <a:spcBef>
          <a:spcPts val="338"/>
        </a:spcBef>
        <a:buFont typeface="Arial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2pPr>
      <a:lvl3pPr marL="61722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3pPr>
      <a:lvl4pPr marL="92583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4pPr>
      <a:lvl5pPr marL="123444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5pPr>
      <a:lvl6pPr marL="154305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185166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16027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../../COE/Step%20By%20Step%20SonarQube%20Setup%20And%20Run%20SonarQube%20Scanner.docx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comments" Target="../comments/commen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comments" Target="../comments/commen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comments" Target="../comments/commen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A2AE388-E5C4-4892-A443-C9254C5F7DE1}"/>
              </a:ext>
            </a:extLst>
          </p:cNvPr>
          <p:cNvSpPr/>
          <p:nvPr/>
        </p:nvSpPr>
        <p:spPr bwMode="auto">
          <a:xfrm>
            <a:off x="519065" y="1423618"/>
            <a:ext cx="5864206" cy="2043711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miter lim="800000"/>
            <a:headEnd type="none" w="sm" len="sm"/>
            <a:tailEnd type="triangl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Subtitle 8">
            <a:extLst>
              <a:ext uri="{FF2B5EF4-FFF2-40B4-BE49-F238E27FC236}">
                <a16:creationId xmlns:a16="http://schemas.microsoft.com/office/drawing/2014/main" id="{41EEB72E-01D8-4CE7-B307-35E4A1E14C71}"/>
              </a:ext>
            </a:extLst>
          </p:cNvPr>
          <p:cNvSpPr txBox="1">
            <a:spLocks/>
          </p:cNvSpPr>
          <p:nvPr/>
        </p:nvSpPr>
        <p:spPr bwMode="auto">
          <a:xfrm>
            <a:off x="519065" y="4744279"/>
            <a:ext cx="543020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None/>
              <a:defRPr sz="1600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1400">
                <a:solidFill>
                  <a:schemeClr val="tx1"/>
                </a:solidFill>
                <a:latin typeface="+mj-lt"/>
              </a:defRPr>
            </a:lvl2pPr>
            <a:lvl3pPr marL="690563" indent="-233363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Calibri" panose="020F0502020204030204" pitchFamily="34" charset="0"/>
              <a:buChar char="▫"/>
              <a:defRPr sz="1400">
                <a:solidFill>
                  <a:schemeClr val="tx1"/>
                </a:solidFill>
                <a:latin typeface="+mj-lt"/>
              </a:defRPr>
            </a:lvl3pPr>
            <a:lvl4pPr marL="904875" indent="-21907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4pPr>
            <a:lvl5pPr marL="1133475" indent="-219075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5pPr>
            <a:lvl6pPr marL="1590675" indent="-219075" algn="l" rtl="0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6pPr>
            <a:lvl7pPr marL="2047875" indent="-219075" algn="l" rtl="0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7pPr>
            <a:lvl8pPr marL="2505075" indent="-219075" algn="l" rtl="0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8pPr>
            <a:lvl9pPr marL="2962275" indent="-219075" algn="l" rtl="0" fontAlgn="base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0000"/>
              </a:buClr>
              <a:defRPr/>
            </a:pPr>
            <a:r>
              <a:rPr lang="en-US" sz="2400" b="1" kern="0" dirty="0">
                <a:solidFill>
                  <a:srgbClr val="000000"/>
                </a:solidFill>
                <a:latin typeface="ING Me"/>
              </a:rPr>
              <a:t>July 16, 2020</a:t>
            </a:r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B345DEA3-8AD5-4228-8C61-B25591D9794B}"/>
              </a:ext>
            </a:extLst>
          </p:cNvPr>
          <p:cNvSpPr txBox="1">
            <a:spLocks/>
          </p:cNvSpPr>
          <p:nvPr/>
        </p:nvSpPr>
        <p:spPr bwMode="auto">
          <a:xfrm>
            <a:off x="198570" y="1980226"/>
            <a:ext cx="6245275" cy="1872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2800" b="1" cap="none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29B"/>
                </a:solidFill>
                <a:latin typeface="Novecento Book" pitchFamily="50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lvl="0" algn="ctr">
              <a:lnSpc>
                <a:spcPct val="110000"/>
              </a:lnSpc>
              <a:defRPr/>
            </a:pPr>
            <a:r>
              <a:rPr lang="en-GB" kern="0" dirty="0">
                <a:solidFill>
                  <a:srgbClr val="0070C0"/>
                </a:solidFill>
                <a:latin typeface="ING Me"/>
              </a:rPr>
              <a:t>ING</a:t>
            </a:r>
          </a:p>
          <a:p>
            <a:pPr lvl="0" algn="ctr">
              <a:lnSpc>
                <a:spcPct val="110000"/>
              </a:lnSpc>
              <a:defRPr/>
            </a:pPr>
            <a:r>
              <a:rPr lang="en-GB" kern="0" dirty="0">
                <a:solidFill>
                  <a:schemeClr val="tx2"/>
                </a:solidFill>
                <a:latin typeface="ING Me"/>
              </a:rPr>
              <a:t>SonarQube-Rule-Customization</a:t>
            </a:r>
          </a:p>
          <a:p>
            <a:pPr lvl="0" algn="ctr">
              <a:lnSpc>
                <a:spcPct val="110000"/>
              </a:lnSpc>
              <a:defRPr/>
            </a:pPr>
            <a:r>
              <a:rPr lang="en-GB" kern="0" dirty="0">
                <a:solidFill>
                  <a:schemeClr val="tx2"/>
                </a:solidFill>
                <a:latin typeface="ING Me"/>
              </a:rPr>
              <a:t>By </a:t>
            </a:r>
          </a:p>
          <a:p>
            <a:pPr lvl="0" algn="ctr">
              <a:lnSpc>
                <a:spcPct val="110000"/>
              </a:lnSpc>
              <a:defRPr/>
            </a:pPr>
            <a:r>
              <a:rPr lang="en-GB" kern="0" dirty="0">
                <a:solidFill>
                  <a:schemeClr val="tx2"/>
                </a:solidFill>
                <a:latin typeface="ING Me"/>
              </a:rPr>
              <a:t>Prashant Gaikwad/Mahendran 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8FA1AE-C5B5-4E53-904C-33123EA2C259}"/>
              </a:ext>
            </a:extLst>
          </p:cNvPr>
          <p:cNvSpPr/>
          <p:nvPr/>
        </p:nvSpPr>
        <p:spPr>
          <a:xfrm>
            <a:off x="6020659" y="6692044"/>
            <a:ext cx="150682" cy="153888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217613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6859F80E-620D-49A1-BE04-AB53E30ABC2A}" type="slidenum">
              <a:rPr lang="it-IT" sz="1000" smtClean="0">
                <a:solidFill>
                  <a:srgbClr val="404040"/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pPr algn="ctr" eaLnBrk="1" hangingPunct="1"/>
              <a:t>1</a:t>
            </a:fld>
            <a:endParaRPr lang="en-US" sz="1000" dirty="0">
              <a:solidFill>
                <a:srgbClr val="404040"/>
              </a:solidFill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4881167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b="0" dirty="0"/>
              <a:t>To create our first custom rule</a:t>
            </a:r>
            <a:endParaRPr lang="en-US" dirty="0">
              <a:latin typeface="ING Me" panose="02000506040000020004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atin typeface="ING Me" panose="02000506040000020004"/>
              </a:rPr>
              <a:t>3.In package </a:t>
            </a:r>
            <a:r>
              <a:rPr lang="en-US" sz="1400" dirty="0" err="1">
                <a:latin typeface="ING Me" panose="02000506040000020004"/>
              </a:rPr>
              <a:t>org.sonar.samples.java.checks</a:t>
            </a:r>
            <a:r>
              <a:rPr lang="en-US" sz="1400" dirty="0">
                <a:latin typeface="ING Me" panose="02000506040000020004"/>
              </a:rPr>
              <a:t> of /</a:t>
            </a:r>
            <a:r>
              <a:rPr lang="en-US" sz="1400" dirty="0" err="1">
                <a:latin typeface="ING Me" panose="02000506040000020004"/>
              </a:rPr>
              <a:t>src</a:t>
            </a:r>
            <a:r>
              <a:rPr lang="en-US" sz="1400" dirty="0">
                <a:latin typeface="ING Me" panose="02000506040000020004"/>
              </a:rPr>
              <a:t>/main/java, create a new class called </a:t>
            </a:r>
            <a:r>
              <a:rPr lang="en-US" sz="1400" dirty="0" err="1">
                <a:latin typeface="ING Me" panose="02000506040000020004"/>
              </a:rPr>
              <a:t>MyFirstCustomCheck</a:t>
            </a:r>
            <a:r>
              <a:rPr lang="en-US" sz="1400" dirty="0">
                <a:latin typeface="ING Me" panose="02000506040000020004"/>
              </a:rPr>
              <a:t> extending class </a:t>
            </a:r>
            <a:r>
              <a:rPr lang="en-US" sz="1400" dirty="0" err="1">
                <a:latin typeface="ING Me" panose="02000506040000020004"/>
              </a:rPr>
              <a:t>org.sonar.plugins.java.api.IssuableSubscriptionVisitor</a:t>
            </a:r>
            <a:r>
              <a:rPr lang="en-US" sz="1400" dirty="0">
                <a:latin typeface="ING Me" panose="02000506040000020004"/>
              </a:rPr>
              <a:t> provided by the Java Plugin API. Then, replace the content of the </a:t>
            </a:r>
            <a:r>
              <a:rPr lang="en-US" sz="1400" dirty="0" err="1">
                <a:latin typeface="ING Me" panose="02000506040000020004"/>
              </a:rPr>
              <a:t>nodesToVisit</a:t>
            </a:r>
            <a:r>
              <a:rPr lang="en-US" sz="1400" dirty="0">
                <a:latin typeface="ING Me" panose="02000506040000020004"/>
              </a:rPr>
              <a:t>() method with the content from the following code snippet (you may have to import </a:t>
            </a:r>
            <a:r>
              <a:rPr lang="en-US" sz="1400" dirty="0" err="1">
                <a:latin typeface="ING Me" panose="02000506040000020004"/>
              </a:rPr>
              <a:t>com.google.common.collect.ImmutableList</a:t>
            </a:r>
            <a:r>
              <a:rPr lang="en-US" sz="1400" dirty="0">
                <a:latin typeface="ING Me" panose="02000506040000020004"/>
              </a:rPr>
              <a:t>). This file will be described when dealing with implementation of the rule!</a:t>
            </a:r>
          </a:p>
          <a:p>
            <a:endParaRPr lang="en-US" sz="1400" dirty="0">
              <a:latin typeface="ING Me" panose="02000506040000020004"/>
            </a:endParaRPr>
          </a:p>
          <a:p>
            <a:r>
              <a:rPr lang="en-US" sz="1400" dirty="0">
                <a:latin typeface="ING Me" panose="02000506040000020004"/>
              </a:rPr>
              <a:t>MyFirstCustomCheck.java</a:t>
            </a:r>
          </a:p>
          <a:p>
            <a:r>
              <a:rPr lang="en-US" sz="1400" dirty="0">
                <a:latin typeface="ING Me" panose="02000506040000020004"/>
              </a:rPr>
              <a:t>package </a:t>
            </a:r>
            <a:r>
              <a:rPr lang="en-US" sz="1400" dirty="0" err="1">
                <a:latin typeface="ING Me" panose="02000506040000020004"/>
              </a:rPr>
              <a:t>org.sonar.samples.java.checks</a:t>
            </a:r>
            <a:r>
              <a:rPr lang="en-US" sz="1400" dirty="0">
                <a:latin typeface="ING Me" panose="02000506040000020004"/>
              </a:rPr>
              <a:t>;</a:t>
            </a:r>
          </a:p>
          <a:p>
            <a:r>
              <a:rPr lang="en-US" sz="1400" dirty="0">
                <a:latin typeface="ING Me" panose="02000506040000020004"/>
              </a:rPr>
              <a:t> </a:t>
            </a:r>
          </a:p>
          <a:p>
            <a:r>
              <a:rPr lang="en-US" sz="1400" dirty="0">
                <a:latin typeface="ING Me" panose="02000506040000020004"/>
              </a:rPr>
              <a:t>import </a:t>
            </a:r>
            <a:r>
              <a:rPr lang="en-US" sz="1400" dirty="0" err="1">
                <a:latin typeface="ING Me" panose="02000506040000020004"/>
              </a:rPr>
              <a:t>com.google.common.collect.ImmutableList</a:t>
            </a:r>
            <a:r>
              <a:rPr lang="en-US" sz="1400" dirty="0">
                <a:latin typeface="ING Me" panose="02000506040000020004"/>
              </a:rPr>
              <a:t>;</a:t>
            </a:r>
          </a:p>
          <a:p>
            <a:r>
              <a:rPr lang="en-US" sz="1400" dirty="0">
                <a:latin typeface="ING Me" panose="02000506040000020004"/>
              </a:rPr>
              <a:t> </a:t>
            </a:r>
          </a:p>
          <a:p>
            <a:r>
              <a:rPr lang="en-US" sz="1400" dirty="0">
                <a:latin typeface="ING Me" panose="02000506040000020004"/>
              </a:rPr>
              <a:t>import </a:t>
            </a:r>
            <a:r>
              <a:rPr lang="en-US" sz="1400" dirty="0" err="1">
                <a:latin typeface="ING Me" panose="02000506040000020004"/>
              </a:rPr>
              <a:t>org.sonar.plugins.java.api.IssuableSubscriptionVisitor</a:t>
            </a:r>
            <a:r>
              <a:rPr lang="en-US" sz="1400" dirty="0">
                <a:latin typeface="ING Me" panose="02000506040000020004"/>
              </a:rPr>
              <a:t>;</a:t>
            </a:r>
          </a:p>
          <a:p>
            <a:r>
              <a:rPr lang="en-US" sz="1400" dirty="0">
                <a:latin typeface="ING Me" panose="02000506040000020004"/>
              </a:rPr>
              <a:t>import </a:t>
            </a:r>
            <a:r>
              <a:rPr lang="en-US" sz="1400" dirty="0" err="1">
                <a:latin typeface="ING Me" panose="02000506040000020004"/>
              </a:rPr>
              <a:t>org.sonar.plugins.java.api.tree.Tree.Kind</a:t>
            </a:r>
            <a:r>
              <a:rPr lang="en-US" sz="1400" dirty="0">
                <a:latin typeface="ING Me" panose="02000506040000020004"/>
              </a:rPr>
              <a:t>;</a:t>
            </a:r>
          </a:p>
          <a:p>
            <a:r>
              <a:rPr lang="en-US" sz="1400" dirty="0">
                <a:latin typeface="ING Me" panose="02000506040000020004"/>
              </a:rPr>
              <a:t> </a:t>
            </a:r>
          </a:p>
          <a:p>
            <a:r>
              <a:rPr lang="en-US" sz="1400" dirty="0">
                <a:latin typeface="ING Me" panose="02000506040000020004"/>
              </a:rPr>
              <a:t>import </a:t>
            </a:r>
            <a:r>
              <a:rPr lang="en-US" sz="1400" dirty="0" err="1">
                <a:latin typeface="ING Me" panose="02000506040000020004"/>
              </a:rPr>
              <a:t>java.util.List</a:t>
            </a:r>
            <a:r>
              <a:rPr lang="en-US" sz="1400" dirty="0">
                <a:latin typeface="ING Me" panose="02000506040000020004"/>
              </a:rPr>
              <a:t>;</a:t>
            </a:r>
          </a:p>
          <a:p>
            <a:r>
              <a:rPr lang="en-US" sz="1400" dirty="0">
                <a:latin typeface="ING Me" panose="02000506040000020004"/>
              </a:rPr>
              <a:t> </a:t>
            </a:r>
          </a:p>
          <a:p>
            <a:r>
              <a:rPr lang="en-US" sz="1400" dirty="0">
                <a:latin typeface="ING Me" panose="02000506040000020004"/>
              </a:rPr>
              <a:t>@Rule(key = "</a:t>
            </a:r>
            <a:r>
              <a:rPr lang="en-US" sz="1400" dirty="0" err="1">
                <a:latin typeface="ING Me" panose="02000506040000020004"/>
              </a:rPr>
              <a:t>MyFirstCustomRule</a:t>
            </a:r>
            <a:r>
              <a:rPr lang="en-US" sz="1400" dirty="0">
                <a:latin typeface="ING Me" panose="02000506040000020004"/>
              </a:rPr>
              <a:t>")</a:t>
            </a:r>
          </a:p>
          <a:p>
            <a:r>
              <a:rPr lang="en-US" sz="1400" dirty="0">
                <a:latin typeface="ING Me" panose="02000506040000020004"/>
              </a:rPr>
              <a:t>public class </a:t>
            </a:r>
            <a:r>
              <a:rPr lang="en-US" sz="1400" dirty="0" err="1">
                <a:latin typeface="ING Me" panose="02000506040000020004"/>
              </a:rPr>
              <a:t>MyFirstCustomCheck</a:t>
            </a:r>
            <a:r>
              <a:rPr lang="en-US" sz="1400" dirty="0">
                <a:latin typeface="ING Me" panose="02000506040000020004"/>
              </a:rPr>
              <a:t> extends </a:t>
            </a:r>
            <a:r>
              <a:rPr lang="en-US" sz="1400" dirty="0" err="1">
                <a:latin typeface="ING Me" panose="02000506040000020004"/>
              </a:rPr>
              <a:t>IssuableSubscriptionVisitor</a:t>
            </a:r>
            <a:r>
              <a:rPr lang="en-US" sz="1400" dirty="0">
                <a:latin typeface="ING Me" panose="02000506040000020004"/>
              </a:rPr>
              <a:t> {</a:t>
            </a:r>
          </a:p>
          <a:p>
            <a:r>
              <a:rPr lang="en-US" sz="1400" dirty="0">
                <a:latin typeface="ING Me" panose="02000506040000020004"/>
              </a:rPr>
              <a:t> </a:t>
            </a:r>
          </a:p>
          <a:p>
            <a:r>
              <a:rPr lang="en-US" sz="1400" dirty="0">
                <a:latin typeface="ING Me" panose="02000506040000020004"/>
              </a:rPr>
              <a:t>  @Override</a:t>
            </a:r>
          </a:p>
          <a:p>
            <a:r>
              <a:rPr lang="en-US" sz="1400" dirty="0">
                <a:latin typeface="ING Me" panose="02000506040000020004"/>
              </a:rPr>
              <a:t>  public List&lt;Kind&gt; </a:t>
            </a:r>
            <a:r>
              <a:rPr lang="en-US" sz="1400" dirty="0" err="1">
                <a:latin typeface="ING Me" panose="02000506040000020004"/>
              </a:rPr>
              <a:t>nodesToVisit</a:t>
            </a:r>
            <a:r>
              <a:rPr lang="en-US" sz="1400" dirty="0">
                <a:latin typeface="ING Me" panose="02000506040000020004"/>
              </a:rPr>
              <a:t>() {</a:t>
            </a:r>
          </a:p>
          <a:p>
            <a:r>
              <a:rPr lang="en-US" sz="1400" dirty="0">
                <a:latin typeface="ING Me" panose="02000506040000020004"/>
              </a:rPr>
              <a:t>    return </a:t>
            </a:r>
            <a:r>
              <a:rPr lang="en-US" sz="1400" dirty="0" err="1">
                <a:latin typeface="ING Me" panose="02000506040000020004"/>
              </a:rPr>
              <a:t>ImmutableList.of</a:t>
            </a:r>
            <a:r>
              <a:rPr lang="en-US" sz="1400" dirty="0">
                <a:latin typeface="ING Me" panose="02000506040000020004"/>
              </a:rPr>
              <a:t>();</a:t>
            </a:r>
          </a:p>
          <a:p>
            <a:r>
              <a:rPr lang="en-US" sz="1400" dirty="0">
                <a:latin typeface="ING Me" panose="02000506040000020004"/>
              </a:rPr>
              <a:t>  }</a:t>
            </a:r>
          </a:p>
          <a:p>
            <a:r>
              <a:rPr lang="en-US" sz="1400" dirty="0">
                <a:latin typeface="ING Me" panose="02000506040000020004"/>
              </a:rPr>
              <a:t> </a:t>
            </a:r>
          </a:p>
          <a:p>
            <a:r>
              <a:rPr lang="en-US" sz="1400" dirty="0">
                <a:latin typeface="ING Me" panose="02000506040000020004"/>
              </a:rPr>
              <a:t>} </a:t>
            </a:r>
            <a:endParaRPr lang="en-US" sz="1050" dirty="0">
              <a:latin typeface="ING Me" panose="02000506040000020004"/>
            </a:endParaRPr>
          </a:p>
        </p:txBody>
      </p:sp>
    </p:spTree>
    <p:extLst>
      <p:ext uri="{BB962C8B-B14F-4D97-AF65-F5344CB8AC3E}">
        <p14:creationId xmlns:p14="http://schemas.microsoft.com/office/powerpoint/2010/main" val="2274766599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b="0" dirty="0"/>
              <a:t>To create our first custom rule</a:t>
            </a:r>
            <a:endParaRPr lang="en-US" dirty="0">
              <a:latin typeface="ING Me" panose="02000506040000020004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latin typeface="ING Me" panose="02000506040000020004"/>
              </a:rPr>
              <a:t>1.In folder /</a:t>
            </a:r>
            <a:r>
              <a:rPr lang="en-US" sz="2000" dirty="0" err="1">
                <a:latin typeface="ING Me" panose="02000506040000020004"/>
              </a:rPr>
              <a:t>src</a:t>
            </a:r>
            <a:r>
              <a:rPr lang="en-US" sz="2000" dirty="0">
                <a:latin typeface="ING Me" panose="02000506040000020004"/>
              </a:rPr>
              <a:t>/test/files, create a new empty file named MyFirstCustomCheck.java, and copy-paste the content of the following code snippet.</a:t>
            </a:r>
          </a:p>
          <a:p>
            <a:endParaRPr lang="en-US" sz="2000" dirty="0">
              <a:latin typeface="ING Me" panose="02000506040000020004"/>
            </a:endParaRPr>
          </a:p>
          <a:p>
            <a:r>
              <a:rPr lang="en-US" sz="2000" dirty="0">
                <a:latin typeface="ING Me" panose="02000506040000020004"/>
              </a:rPr>
              <a:t>MyFirstCustomCheck.java</a:t>
            </a:r>
          </a:p>
          <a:p>
            <a:r>
              <a:rPr lang="en-US" sz="2000" dirty="0">
                <a:latin typeface="ING Me" panose="02000506040000020004"/>
              </a:rPr>
              <a:t>1</a:t>
            </a:r>
          </a:p>
          <a:p>
            <a:r>
              <a:rPr lang="en-US" sz="2000" dirty="0">
                <a:latin typeface="ING Me" panose="02000506040000020004"/>
              </a:rPr>
              <a:t>2</a:t>
            </a:r>
          </a:p>
          <a:p>
            <a:r>
              <a:rPr lang="en-US" sz="2000" dirty="0">
                <a:latin typeface="ING Me" panose="02000506040000020004"/>
              </a:rPr>
              <a:t>3</a:t>
            </a:r>
          </a:p>
          <a:p>
            <a:r>
              <a:rPr lang="en-US" sz="2000" dirty="0">
                <a:latin typeface="ING Me" panose="02000506040000020004"/>
              </a:rPr>
              <a:t>class </a:t>
            </a:r>
            <a:r>
              <a:rPr lang="en-US" sz="2000" dirty="0" err="1">
                <a:latin typeface="ING Me" panose="02000506040000020004"/>
              </a:rPr>
              <a:t>MyClass</a:t>
            </a:r>
            <a:r>
              <a:rPr lang="en-US" sz="2000" dirty="0">
                <a:latin typeface="ING Me" panose="02000506040000020004"/>
              </a:rPr>
              <a:t> {</a:t>
            </a:r>
          </a:p>
          <a:p>
            <a:r>
              <a:rPr lang="en-US" sz="2000" dirty="0">
                <a:latin typeface="ING Me" panose="02000506040000020004"/>
              </a:rPr>
              <a:t>}</a:t>
            </a:r>
          </a:p>
          <a:p>
            <a:endParaRPr lang="en-US" sz="2000" dirty="0">
              <a:latin typeface="ING Me" panose="02000506040000020004"/>
            </a:endParaRPr>
          </a:p>
          <a:p>
            <a:r>
              <a:rPr lang="en-US" sz="2000" dirty="0">
                <a:latin typeface="ING Me" panose="02000506040000020004"/>
              </a:rPr>
              <a:t> </a:t>
            </a:r>
            <a:endParaRPr lang="en-US" sz="1400" dirty="0">
              <a:latin typeface="ING Me" panose="02000506040000020004"/>
            </a:endParaRPr>
          </a:p>
        </p:txBody>
      </p:sp>
    </p:spTree>
    <p:extLst>
      <p:ext uri="{BB962C8B-B14F-4D97-AF65-F5344CB8AC3E}">
        <p14:creationId xmlns:p14="http://schemas.microsoft.com/office/powerpoint/2010/main" val="4184685479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b="0" dirty="0"/>
              <a:t>To create our first custom rule</a:t>
            </a:r>
            <a:endParaRPr lang="en-US" dirty="0">
              <a:latin typeface="ING Me" panose="02000506040000020004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latin typeface="ING Me" panose="02000506040000020004"/>
              </a:rPr>
              <a:t>2.In package </a:t>
            </a:r>
            <a:r>
              <a:rPr lang="en-US" sz="2000" dirty="0" err="1">
                <a:latin typeface="ING Me" panose="02000506040000020004"/>
              </a:rPr>
              <a:t>org.sonar.samples.java.checks</a:t>
            </a:r>
            <a:r>
              <a:rPr lang="en-US" sz="2000" dirty="0">
                <a:latin typeface="ING Me" panose="02000506040000020004"/>
              </a:rPr>
              <a:t> of /</a:t>
            </a:r>
            <a:r>
              <a:rPr lang="en-US" sz="2000" dirty="0" err="1">
                <a:latin typeface="ING Me" panose="02000506040000020004"/>
              </a:rPr>
              <a:t>src</a:t>
            </a:r>
            <a:r>
              <a:rPr lang="en-US" sz="2000" dirty="0">
                <a:latin typeface="ING Me" panose="02000506040000020004"/>
              </a:rPr>
              <a:t>/test/java, create a new test class called </a:t>
            </a:r>
            <a:r>
              <a:rPr lang="en-US" sz="2000" dirty="0" err="1">
                <a:latin typeface="ING Me" panose="02000506040000020004"/>
              </a:rPr>
              <a:t>MyFirstCustomCheckTest</a:t>
            </a:r>
            <a:r>
              <a:rPr lang="en-US" sz="2000" dirty="0">
                <a:latin typeface="ING Me" panose="02000506040000020004"/>
              </a:rPr>
              <a:t> and copy-paste the content of the following code snippet.</a:t>
            </a:r>
          </a:p>
          <a:p>
            <a:endParaRPr lang="en-US" sz="2000" dirty="0">
              <a:latin typeface="ING Me" panose="02000506040000020004"/>
            </a:endParaRPr>
          </a:p>
          <a:p>
            <a:r>
              <a:rPr lang="en-US" sz="2000" dirty="0">
                <a:latin typeface="ING Me" panose="02000506040000020004"/>
              </a:rPr>
              <a:t>MyFirstCustomCheckTest.java</a:t>
            </a:r>
          </a:p>
          <a:p>
            <a:endParaRPr lang="en-US" sz="2000" dirty="0">
              <a:latin typeface="ING Me" panose="02000506040000020004"/>
            </a:endParaRPr>
          </a:p>
          <a:p>
            <a:r>
              <a:rPr lang="en-US" sz="2000" dirty="0">
                <a:latin typeface="ING Me" panose="02000506040000020004"/>
              </a:rPr>
              <a:t>package </a:t>
            </a:r>
            <a:r>
              <a:rPr lang="en-US" sz="2000" dirty="0" err="1">
                <a:latin typeface="ING Me" panose="02000506040000020004"/>
              </a:rPr>
              <a:t>org.sonar.samples.java.checks</a:t>
            </a:r>
            <a:r>
              <a:rPr lang="en-US" sz="2000" dirty="0">
                <a:latin typeface="ING Me" panose="02000506040000020004"/>
              </a:rPr>
              <a:t>;</a:t>
            </a:r>
          </a:p>
          <a:p>
            <a:r>
              <a:rPr lang="en-US" sz="2000" dirty="0">
                <a:latin typeface="ING Me" panose="02000506040000020004"/>
              </a:rPr>
              <a:t> </a:t>
            </a:r>
          </a:p>
          <a:p>
            <a:r>
              <a:rPr lang="en-US" sz="2000" dirty="0">
                <a:latin typeface="ING Me" panose="02000506040000020004"/>
              </a:rPr>
              <a:t>import </a:t>
            </a:r>
            <a:r>
              <a:rPr lang="en-US" sz="2000" dirty="0" err="1">
                <a:latin typeface="ING Me" panose="02000506040000020004"/>
              </a:rPr>
              <a:t>org.junit.Test</a:t>
            </a:r>
            <a:r>
              <a:rPr lang="en-US" sz="2000" dirty="0">
                <a:latin typeface="ING Me" panose="02000506040000020004"/>
              </a:rPr>
              <a:t>;</a:t>
            </a:r>
          </a:p>
          <a:p>
            <a:r>
              <a:rPr lang="en-US" sz="2000" dirty="0">
                <a:latin typeface="ING Me" panose="02000506040000020004"/>
              </a:rPr>
              <a:t> </a:t>
            </a:r>
          </a:p>
          <a:p>
            <a:r>
              <a:rPr lang="en-US" sz="2000" dirty="0">
                <a:latin typeface="ING Me" panose="02000506040000020004"/>
              </a:rPr>
              <a:t>public class </a:t>
            </a:r>
            <a:r>
              <a:rPr lang="en-US" sz="2000" dirty="0" err="1">
                <a:latin typeface="ING Me" panose="02000506040000020004"/>
              </a:rPr>
              <a:t>MyFirstCustomCheckTest</a:t>
            </a:r>
            <a:r>
              <a:rPr lang="en-US" sz="2000" dirty="0">
                <a:latin typeface="ING Me" panose="02000506040000020004"/>
              </a:rPr>
              <a:t> {</a:t>
            </a:r>
          </a:p>
          <a:p>
            <a:r>
              <a:rPr lang="en-US" sz="2000" dirty="0">
                <a:latin typeface="ING Me" panose="02000506040000020004"/>
              </a:rPr>
              <a:t> </a:t>
            </a:r>
          </a:p>
          <a:p>
            <a:r>
              <a:rPr lang="en-US" sz="2000" dirty="0">
                <a:latin typeface="ING Me" panose="02000506040000020004"/>
              </a:rPr>
              <a:t>@Test</a:t>
            </a:r>
          </a:p>
          <a:p>
            <a:r>
              <a:rPr lang="en-US" sz="2000" dirty="0">
                <a:latin typeface="ING Me" panose="02000506040000020004"/>
              </a:rPr>
              <a:t>public void test() {</a:t>
            </a:r>
          </a:p>
          <a:p>
            <a:r>
              <a:rPr lang="en-US" sz="2000" dirty="0">
                <a:latin typeface="ING Me" panose="02000506040000020004"/>
              </a:rPr>
              <a:t>  </a:t>
            </a:r>
            <a:r>
              <a:rPr lang="en-US" sz="2000" dirty="0" err="1">
                <a:latin typeface="ING Me" panose="02000506040000020004"/>
              </a:rPr>
              <a:t>JavaCheckVerifier.verify</a:t>
            </a:r>
            <a:r>
              <a:rPr lang="en-US" sz="2000" dirty="0">
                <a:latin typeface="ING Me" panose="02000506040000020004"/>
              </a:rPr>
              <a:t>("</a:t>
            </a:r>
            <a:r>
              <a:rPr lang="en-US" sz="2000" dirty="0" err="1">
                <a:latin typeface="ING Me" panose="02000506040000020004"/>
              </a:rPr>
              <a:t>src</a:t>
            </a:r>
            <a:r>
              <a:rPr lang="en-US" sz="2000" dirty="0">
                <a:latin typeface="ING Me" panose="02000506040000020004"/>
              </a:rPr>
              <a:t>/test/files/MyFirstCustomCheck.java", new </a:t>
            </a:r>
            <a:r>
              <a:rPr lang="en-US" sz="2000" dirty="0" err="1">
                <a:latin typeface="ING Me" panose="02000506040000020004"/>
              </a:rPr>
              <a:t>MyFirstCustomCheck</a:t>
            </a:r>
            <a:r>
              <a:rPr lang="en-US" sz="2000" dirty="0">
                <a:latin typeface="ING Me" panose="02000506040000020004"/>
              </a:rPr>
              <a:t>());</a:t>
            </a:r>
          </a:p>
          <a:p>
            <a:r>
              <a:rPr lang="en-US" sz="2000" dirty="0">
                <a:latin typeface="ING Me" panose="02000506040000020004"/>
              </a:rPr>
              <a:t>}</a:t>
            </a:r>
          </a:p>
          <a:p>
            <a:r>
              <a:rPr lang="en-US" sz="2000" dirty="0">
                <a:latin typeface="ING Me" panose="02000506040000020004"/>
              </a:rPr>
              <a:t> </a:t>
            </a:r>
          </a:p>
          <a:p>
            <a:r>
              <a:rPr lang="en-US" sz="2000" dirty="0">
                <a:latin typeface="ING Me" panose="02000506040000020004"/>
              </a:rPr>
              <a:t>}</a:t>
            </a:r>
          </a:p>
          <a:p>
            <a:r>
              <a:rPr lang="en-US" sz="2000" dirty="0">
                <a:latin typeface="ING Me" panose="02000506040000020004"/>
              </a:rPr>
              <a:t> </a:t>
            </a:r>
            <a:endParaRPr lang="en-US" sz="1400" dirty="0">
              <a:latin typeface="ING Me" panose="02000506040000020004"/>
            </a:endParaRPr>
          </a:p>
        </p:txBody>
      </p:sp>
    </p:spTree>
    <p:extLst>
      <p:ext uri="{BB962C8B-B14F-4D97-AF65-F5344CB8AC3E}">
        <p14:creationId xmlns:p14="http://schemas.microsoft.com/office/powerpoint/2010/main" val="1632273401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b="0" dirty="0"/>
              <a:t>Build &amp; Deploymen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3508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ING Me" panose="02000506040000020004"/>
              </a:rPr>
              <a:t>After creating all the relevant files for SonarQube rule customization,  build the  library  using maven or any other build too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ING Me" panose="02000506040000020004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ING Me" panose="02000506040000020004"/>
              </a:rPr>
              <a:t>Copy the jar file from target directory to $HOME\sonarqube-8.1.0.31237\extensions\plugins director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ING Me" panose="02000506040000020004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ING Me" panose="02000506040000020004"/>
              </a:rPr>
              <a:t>Start the sonar server by clicking </a:t>
            </a:r>
            <a:r>
              <a:rPr lang="en-US" sz="2000" dirty="0" err="1">
                <a:latin typeface="ING Me" panose="02000506040000020004"/>
              </a:rPr>
              <a:t>StartSonar</a:t>
            </a:r>
            <a:r>
              <a:rPr lang="en-US" sz="2000" dirty="0">
                <a:latin typeface="ING Me" panose="02000506040000020004"/>
              </a:rPr>
              <a:t> under $HOME\sonarqube-8.1.0.31237\bin\windows-x86-64\ directory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ING Me" panose="02000506040000020004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ING Me" panose="02000506040000020004"/>
              </a:rPr>
              <a:t>Verify the rule is present  in the repository section in </a:t>
            </a:r>
            <a:r>
              <a:rPr lang="en-US" sz="2000" dirty="0" err="1">
                <a:latin typeface="ING Me" panose="02000506040000020004"/>
              </a:rPr>
              <a:t>sonarqube</a:t>
            </a:r>
            <a:r>
              <a:rPr lang="en-US" sz="2000" dirty="0">
                <a:latin typeface="ING Me" panose="02000506040000020004"/>
              </a:rPr>
              <a:t> admin screen.</a:t>
            </a:r>
            <a:endParaRPr lang="en-US" sz="1050" dirty="0">
              <a:latin typeface="ING Me" panose="02000506040000020004"/>
            </a:endParaRPr>
          </a:p>
          <a:p>
            <a:endParaRPr lang="en-US" sz="1050" dirty="0">
              <a:latin typeface="ING Me" panose="02000506040000020004"/>
            </a:endParaRPr>
          </a:p>
          <a:p>
            <a:endParaRPr lang="en-US" sz="1050" dirty="0">
              <a:latin typeface="ING Me" panose="02000506040000020004"/>
            </a:endParaRPr>
          </a:p>
          <a:p>
            <a:endParaRPr lang="en-US" sz="1050" dirty="0">
              <a:latin typeface="ING Me" panose="02000506040000020004"/>
            </a:endParaRPr>
          </a:p>
          <a:p>
            <a:endParaRPr lang="en-US" sz="1050" dirty="0">
              <a:latin typeface="ING Me" panose="02000506040000020004"/>
            </a:endParaRPr>
          </a:p>
        </p:txBody>
      </p:sp>
    </p:spTree>
    <p:extLst>
      <p:ext uri="{BB962C8B-B14F-4D97-AF65-F5344CB8AC3E}">
        <p14:creationId xmlns:p14="http://schemas.microsoft.com/office/powerpoint/2010/main" val="228923218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/>
              <a:t>Sonar Setup Instructions</a:t>
            </a:r>
            <a:endParaRPr lang="en-US" dirty="0">
              <a:latin typeface="ING Me" panose="02000506040000020004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latin typeface="ING Me" panose="02000506040000020004"/>
              </a:rPr>
              <a:t>Sonar Setup installation instructions </a:t>
            </a:r>
            <a:r>
              <a:rPr lang="en-US" sz="2000" dirty="0">
                <a:latin typeface="ING Me" panose="02000506040000020004"/>
                <a:hlinkClick r:id="rId3" action="ppaction://hlinkfile"/>
              </a:rPr>
              <a:t>available</a:t>
            </a:r>
            <a:r>
              <a:rPr lang="en-US" sz="2000" dirty="0">
                <a:latin typeface="ING Me" panose="02000506040000020004"/>
              </a:rPr>
              <a:t>. </a:t>
            </a:r>
            <a:endParaRPr lang="en-US" dirty="0"/>
          </a:p>
          <a:p>
            <a:endParaRPr lang="en-US" sz="1400" dirty="0">
              <a:latin typeface="ING Me" panose="02000506040000020004"/>
            </a:endParaRPr>
          </a:p>
        </p:txBody>
      </p:sp>
    </p:spTree>
    <p:extLst>
      <p:ext uri="{BB962C8B-B14F-4D97-AF65-F5344CB8AC3E}">
        <p14:creationId xmlns:p14="http://schemas.microsoft.com/office/powerpoint/2010/main" val="2722250998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>
                <a:latin typeface="ING Me" panose="02000506040000020004"/>
              </a:rPr>
              <a:t>Demo on SonarQube Rule Customization.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4308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dirty="0">
                <a:latin typeface="ING Me" panose="02000506040000020004"/>
              </a:rPr>
              <a:t>Demo on SonarQube Rule Customization.</a:t>
            </a:r>
          </a:p>
          <a:p>
            <a:endParaRPr lang="en-US" sz="4400" dirty="0">
              <a:latin typeface="ING Me" panose="02000506040000020004"/>
            </a:endParaRPr>
          </a:p>
          <a:p>
            <a:endParaRPr lang="en-US" sz="4400" dirty="0">
              <a:latin typeface="ING Me" panose="02000506040000020004"/>
            </a:endParaRPr>
          </a:p>
          <a:p>
            <a:endParaRPr lang="en-US" sz="4400" dirty="0">
              <a:latin typeface="ING Me" panose="02000506040000020004"/>
            </a:endParaRPr>
          </a:p>
          <a:p>
            <a:endParaRPr lang="en-US" sz="4400" dirty="0">
              <a:latin typeface="ING Me" panose="02000506040000020004"/>
            </a:endParaRPr>
          </a:p>
          <a:p>
            <a:endParaRPr lang="en-US" sz="4000" dirty="0"/>
          </a:p>
          <a:p>
            <a:endParaRPr lang="en-US" sz="1400" dirty="0">
              <a:latin typeface="ING Me" panose="02000506040000020004"/>
            </a:endParaRPr>
          </a:p>
        </p:txBody>
      </p:sp>
    </p:spTree>
    <p:extLst>
      <p:ext uri="{BB962C8B-B14F-4D97-AF65-F5344CB8AC3E}">
        <p14:creationId xmlns:p14="http://schemas.microsoft.com/office/powerpoint/2010/main" val="1202909462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122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>
                <a:latin typeface="ING Me" panose="02000506040000020004"/>
              </a:rPr>
              <a:t>Overview of SonarQub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64017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ING Me" panose="02000506040000020004"/>
              </a:rPr>
              <a:t>SonarQube (formerly Sonar) is an open-source platform developed by </a:t>
            </a:r>
            <a:r>
              <a:rPr lang="en-US" dirty="0" err="1">
                <a:latin typeface="ING Me" panose="02000506040000020004"/>
              </a:rPr>
              <a:t>SonarSource</a:t>
            </a:r>
            <a:r>
              <a:rPr lang="en-US" dirty="0">
                <a:latin typeface="ING Me" panose="02000506040000020004"/>
              </a:rPr>
              <a:t> for continuous inspection of code quality to perform automatic reviews with static analysis of code to </a:t>
            </a:r>
            <a:r>
              <a:rPr lang="en-US" b="1" dirty="0">
                <a:latin typeface="ING Me" panose="02000506040000020004"/>
              </a:rPr>
              <a:t>detect bugs, code smells, and security vulnerabilities </a:t>
            </a:r>
            <a:r>
              <a:rPr lang="en-US" dirty="0">
                <a:latin typeface="ING Me" panose="02000506040000020004"/>
              </a:rPr>
              <a:t>on 20+ programming languag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ING Me" panose="020005060400000200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category has a corresponding number of issues or a percentage valu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ssues can have one of five different severity levels: </a:t>
            </a:r>
            <a:r>
              <a:rPr lang="en-US" b="1" i="1" dirty="0"/>
              <a:t>blocker, critical, major, minor</a:t>
            </a:r>
            <a:r>
              <a:rPr lang="en-US" b="1" dirty="0"/>
              <a:t> and </a:t>
            </a:r>
            <a:r>
              <a:rPr lang="en-US" b="1" i="1" dirty="0"/>
              <a:t>info</a:t>
            </a:r>
            <a:r>
              <a:rPr lang="en-US" i="1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Just in front of the project name is an icon that </a:t>
            </a:r>
            <a:r>
              <a:rPr lang="en-US" b="1" dirty="0"/>
              <a:t>displays the Quality Gate status </a:t>
            </a:r>
            <a:r>
              <a:rPr lang="en-US" dirty="0"/>
              <a:t>– passed (green) or failed (red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ING Me" panose="020005060400000200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ING Me" panose="02000506040000020004"/>
              </a:rPr>
              <a:t>SonarQube offers reports on </a:t>
            </a:r>
            <a:r>
              <a:rPr lang="en-US" b="1" dirty="0">
                <a:latin typeface="ING Me" panose="02000506040000020004"/>
              </a:rPr>
              <a:t>duplicated code, coding standards, unit tests, code coverage, code complexity, comments, bugs, and security vulnerabilities</a:t>
            </a:r>
            <a:r>
              <a:rPr lang="en-US" dirty="0">
                <a:latin typeface="ING Me" panose="02000506040000020004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ING Me" panose="020005060400000200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ING Me" panose="02000506040000020004"/>
              </a:rPr>
              <a:t>SonarQube provides fully automated analysis </a:t>
            </a:r>
            <a:r>
              <a:rPr lang="en-US" b="1" dirty="0">
                <a:latin typeface="ING Me" panose="02000506040000020004"/>
              </a:rPr>
              <a:t>and integration with Maven, Ant, Gradle, </a:t>
            </a:r>
            <a:r>
              <a:rPr lang="en-US" b="1" dirty="0" err="1">
                <a:latin typeface="ING Me" panose="02000506040000020004"/>
              </a:rPr>
              <a:t>MSBuild</a:t>
            </a:r>
            <a:r>
              <a:rPr lang="en-US" b="1" dirty="0">
                <a:latin typeface="ING Me" panose="02000506040000020004"/>
              </a:rPr>
              <a:t> and continuous integration tools (Atlassian Bamboo, Jenkins, Hudson, etc.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ING Me" panose="020005060400000200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ING Me" panose="02000506040000020004"/>
              </a:rPr>
              <a:t>SonarQube integrates </a:t>
            </a:r>
            <a:r>
              <a:rPr lang="en-US" b="1" dirty="0">
                <a:latin typeface="ING Me" panose="02000506040000020004"/>
              </a:rPr>
              <a:t>with Eclipse, Visual Studio, and IntelliJ IDEA </a:t>
            </a:r>
            <a:r>
              <a:rPr lang="en-US" dirty="0">
                <a:latin typeface="ING Me" panose="02000506040000020004"/>
              </a:rPr>
              <a:t>development environments through the </a:t>
            </a:r>
            <a:r>
              <a:rPr lang="en-US" b="1" dirty="0" err="1">
                <a:latin typeface="ING Me" panose="02000506040000020004"/>
              </a:rPr>
              <a:t>SonarLint</a:t>
            </a:r>
            <a:r>
              <a:rPr lang="en-US" dirty="0">
                <a:latin typeface="ING Me" panose="02000506040000020004"/>
              </a:rPr>
              <a:t> plug-ins, and also integrates with external tools like LDAP, Active Directory, GitHub, and other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ING Me" panose="020005060400000200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ING Me" panose="02000506040000020004"/>
              </a:rPr>
              <a:t>SonarQube is expandable with the use of plug-i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ING Me" panose="02000506040000020004"/>
            </a:endParaRPr>
          </a:p>
          <a:p>
            <a:endParaRPr lang="en-US" dirty="0">
              <a:latin typeface="ING Me" panose="02000506040000020004"/>
            </a:endParaRPr>
          </a:p>
          <a:p>
            <a:endParaRPr lang="en-US" sz="1400" dirty="0">
              <a:latin typeface="ING Me" panose="02000506040000020004"/>
            </a:endParaRPr>
          </a:p>
        </p:txBody>
      </p:sp>
    </p:spTree>
    <p:extLst>
      <p:ext uri="{BB962C8B-B14F-4D97-AF65-F5344CB8AC3E}">
        <p14:creationId xmlns:p14="http://schemas.microsoft.com/office/powerpoint/2010/main" val="1138080383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>
                <a:latin typeface="ING Me" panose="02000506040000020004"/>
              </a:rPr>
              <a:t>SonarQube Repor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000" dirty="0">
              <a:latin typeface="ING Me" panose="02000506040000020004"/>
            </a:endParaRPr>
          </a:p>
          <a:p>
            <a:endParaRPr lang="en-US" sz="2000" dirty="0">
              <a:latin typeface="ING Me" panose="02000506040000020004"/>
            </a:endParaRPr>
          </a:p>
          <a:p>
            <a:endParaRPr lang="en-US" sz="1400" dirty="0">
              <a:latin typeface="ING Me" panose="02000506040000020004"/>
            </a:endParaRPr>
          </a:p>
          <a:p>
            <a:endParaRPr lang="en-US" sz="1400" dirty="0">
              <a:latin typeface="ING Me" panose="02000506040000020004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55A85B5-BF8B-45DC-8740-927FD2C684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7828" y="992348"/>
            <a:ext cx="10316938" cy="4790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247056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>
                <a:latin typeface="ING Me" panose="02000506040000020004"/>
              </a:rPr>
              <a:t>SonarQube Repor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000" dirty="0">
              <a:latin typeface="ING Me" panose="02000506040000020004"/>
            </a:endParaRPr>
          </a:p>
          <a:p>
            <a:endParaRPr lang="en-US" sz="2000" dirty="0">
              <a:latin typeface="ING Me" panose="02000506040000020004"/>
            </a:endParaRPr>
          </a:p>
          <a:p>
            <a:endParaRPr lang="en-US" sz="1400" dirty="0">
              <a:latin typeface="ING Me" panose="02000506040000020004"/>
            </a:endParaRPr>
          </a:p>
          <a:p>
            <a:endParaRPr lang="en-US" sz="1400" dirty="0">
              <a:latin typeface="ING Me" panose="02000506040000020004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237CDD1-3912-44DB-BF5A-DBCCEC32F2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7828" y="1020065"/>
            <a:ext cx="10654375" cy="5314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63204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/>
              <a:t>How Sonar Works ?</a:t>
            </a:r>
            <a:endParaRPr lang="en-US" dirty="0">
              <a:latin typeface="ING Me" panose="02000506040000020004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D12BF27-0016-4405-9E7B-51AD08E9B9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3500" y="2195512"/>
            <a:ext cx="9525000" cy="3980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295744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/>
              <a:t> SonarQube Quality Gate</a:t>
            </a:r>
            <a:endParaRPr lang="en-US" dirty="0">
              <a:latin typeface="ING Me" panose="02000506040000020004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000" dirty="0">
              <a:latin typeface="ING Me" panose="02000506040000020004"/>
            </a:endParaRPr>
          </a:p>
          <a:p>
            <a:endParaRPr lang="en-US" sz="2000" dirty="0">
              <a:latin typeface="ING Me" panose="02000506040000020004"/>
            </a:endParaRPr>
          </a:p>
          <a:p>
            <a:endParaRPr lang="en-US" sz="1400" dirty="0">
              <a:latin typeface="ING Me" panose="02000506040000020004"/>
            </a:endParaRPr>
          </a:p>
          <a:p>
            <a:endParaRPr lang="en-US" sz="1400" dirty="0">
              <a:latin typeface="ING Me" panose="02000506040000020004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07D5F7-636D-47E6-87B4-1338F01C76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1770" y="1245703"/>
            <a:ext cx="10114018" cy="4770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687648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b="0" dirty="0"/>
              <a:t>Quality Profiles</a:t>
            </a:r>
            <a:endParaRPr lang="en-US" dirty="0">
              <a:latin typeface="ING Me" panose="02000506040000020004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52937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Quality Profiles are collections of rules to apply during an analysis.</a:t>
            </a:r>
            <a:br>
              <a:rPr lang="en-US" dirty="0"/>
            </a:b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sz="1400" dirty="0">
              <a:latin typeface="ING Me" panose="02000506040000020004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06318C1-91F7-48D8-8254-E197F0D9BC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399" y="1749287"/>
            <a:ext cx="9890713" cy="4639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780268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b="0" dirty="0"/>
              <a:t>SonarQube Rules</a:t>
            </a:r>
            <a:endParaRPr lang="en-US" dirty="0">
              <a:latin typeface="ING Me" panose="02000506040000020004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sz="1400" dirty="0">
              <a:latin typeface="ING Me" panose="02000506040000020004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3B3BB7C-4305-4C73-9EFE-C6F05ADF02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2122" y="984142"/>
            <a:ext cx="10507381" cy="4798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524804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1BF02-2476-D741-95DD-B65372C97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/>
              <a:t>Writing Custom Rules For Java in SonarQube</a:t>
            </a:r>
            <a:endParaRPr lang="en-US" dirty="0">
              <a:latin typeface="ING Me" panose="02000506040000020004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EDD57E-5631-4D92-B07C-0EC5B1CEC49B}"/>
              </a:ext>
            </a:extLst>
          </p:cNvPr>
          <p:cNvSpPr/>
          <p:nvPr/>
        </p:nvSpPr>
        <p:spPr>
          <a:xfrm>
            <a:off x="387069" y="1075645"/>
            <a:ext cx="11344172" cy="5570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sz="1400" dirty="0">
              <a:latin typeface="ING Me" panose="02000506040000020004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57C6E8-BA0B-43AC-A75E-FFAF72A05682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781878" y="1075644"/>
            <a:ext cx="10774018" cy="5033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65264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HCL Template">
  <a:themeElements>
    <a:clrScheme name="HCL_RBtC">
      <a:dk1>
        <a:srgbClr val="000000"/>
      </a:dk1>
      <a:lt1>
        <a:srgbClr val="FFFFFF"/>
      </a:lt1>
      <a:dk2>
        <a:srgbClr val="F58220"/>
      </a:dk2>
      <a:lt2>
        <a:srgbClr val="0066B3"/>
      </a:lt2>
      <a:accent1>
        <a:srgbClr val="C82323"/>
      </a:accent1>
      <a:accent2>
        <a:srgbClr val="993F98"/>
      </a:accent2>
      <a:accent3>
        <a:srgbClr val="00AFBE"/>
      </a:accent3>
      <a:accent4>
        <a:srgbClr val="46C8F5"/>
      </a:accent4>
      <a:accent5>
        <a:srgbClr val="CDDC0A"/>
      </a:accent5>
      <a:accent6>
        <a:srgbClr val="FAB914"/>
      </a:accent6>
      <a:hlink>
        <a:srgbClr val="0066FF"/>
      </a:hlink>
      <a:folHlink>
        <a:srgbClr val="FAB90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850909"/>
          </a:solidFill>
          <a:prstDash val="solid"/>
          <a:miter lim="800000"/>
          <a:headEnd type="none" w="sm" len="sm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HCL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L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L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heme3_24072018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3_24072018" id="{91819D46-EC97-4043-8C24-582A39E5D826}" vid="{6F0DD1F3-34C4-4196-B18A-E3C0384D9391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673</TotalTime>
  <Words>718</Words>
  <Application>Microsoft Office PowerPoint</Application>
  <PresentationFormat>Widescreen</PresentationFormat>
  <Paragraphs>170</Paragraphs>
  <Slides>1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9" baseType="lpstr">
      <vt:lpstr>ING Me</vt:lpstr>
      <vt:lpstr>Novecento Book</vt:lpstr>
      <vt:lpstr>Arial</vt:lpstr>
      <vt:lpstr>Calibri</vt:lpstr>
      <vt:lpstr>Calibri Light</vt:lpstr>
      <vt:lpstr>Symbol</vt:lpstr>
      <vt:lpstr>Webdings</vt:lpstr>
      <vt:lpstr>Wingdings</vt:lpstr>
      <vt:lpstr>Wingdings 2</vt:lpstr>
      <vt:lpstr>1_Office Theme</vt:lpstr>
      <vt:lpstr>2_HCL Template</vt:lpstr>
      <vt:lpstr>Theme3_24072018</vt:lpstr>
      <vt:lpstr>think-cell Slide</vt:lpstr>
      <vt:lpstr>PowerPoint Presentation</vt:lpstr>
      <vt:lpstr>Overview of SonarQube</vt:lpstr>
      <vt:lpstr>SonarQube Report</vt:lpstr>
      <vt:lpstr>SonarQube Report</vt:lpstr>
      <vt:lpstr>How Sonar Works ?</vt:lpstr>
      <vt:lpstr> SonarQube Quality Gate</vt:lpstr>
      <vt:lpstr>Quality Profiles</vt:lpstr>
      <vt:lpstr>SonarQube Rules</vt:lpstr>
      <vt:lpstr>Writing Custom Rules For Java in SonarQube</vt:lpstr>
      <vt:lpstr>To create our first custom rule</vt:lpstr>
      <vt:lpstr>To create our first custom rule</vt:lpstr>
      <vt:lpstr>To create our first custom rule</vt:lpstr>
      <vt:lpstr>Build &amp; Deployment</vt:lpstr>
      <vt:lpstr>Sonar Setup Instructions</vt:lpstr>
      <vt:lpstr>Demo on SonarQube Rule Customization.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ga Platform Consolidation_HCL Proposal</dc:title>
  <dc:creator>satyadatt.n@hcl.com</dc:creator>
  <cp:lastModifiedBy>S Mahendran</cp:lastModifiedBy>
  <cp:revision>372</cp:revision>
  <dcterms:created xsi:type="dcterms:W3CDTF">2019-11-06T22:02:53Z</dcterms:created>
  <dcterms:modified xsi:type="dcterms:W3CDTF">2020-07-17T09:38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5d64833-e759-49de-872f-af7cc5b86234</vt:lpwstr>
  </property>
  <property fmtid="{D5CDD505-2E9C-101B-9397-08002B2CF9AE}" pid="3" name="HCLClassification">
    <vt:lpwstr>HCL_Cla5s_1nt3rnal</vt:lpwstr>
  </property>
  <property fmtid="{D5CDD505-2E9C-101B-9397-08002B2CF9AE}" pid="4" name="HCL_Cla5s_D6">
    <vt:lpwstr>False</vt:lpwstr>
  </property>
</Properties>
</file>